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50.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notesSlides/notesSlide51.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notesSlides/notesSlide52.xml" ContentType="application/vnd.openxmlformats-officedocument.presentationml.notesSlide+xml"/>
  <Override PartName="/ppt/ink/ink12.xml" ContentType="application/inkml+xml"/>
  <Override PartName="/ppt/ink/ink13.xml" ContentType="application/inkml+xml"/>
  <Override PartName="/ppt/ink/ink14.xml" ContentType="application/inkml+xml"/>
  <Override PartName="/ppt/notesSlides/notesSlide53.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notesSlides/notesSlide54.xml" ContentType="application/vnd.openxmlformats-officedocument.presentationml.notesSlide+xml"/>
  <Override PartName="/ppt/ink/ink18.xml" ContentType="application/inkml+xml"/>
  <Override PartName="/ppt/ink/ink19.xml" ContentType="application/inkml+xml"/>
  <Override PartName="/ppt/notesSlides/notesSlide55.xml" ContentType="application/vnd.openxmlformats-officedocument.presentationml.notesSlide+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notesSlides/notesSlide56.xml" ContentType="application/vnd.openxmlformats-officedocument.presentationml.notesSlide+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notesSlides/notesSlide57.xml" ContentType="application/vnd.openxmlformats-officedocument.presentationml.notesSlide+xml"/>
  <Override PartName="/ppt/ink/ink30.xml" ContentType="application/inkml+xml"/>
  <Override PartName="/ppt/ink/ink31.xml" ContentType="application/inkml+xml"/>
  <Override PartName="/ppt/ink/ink32.xml" ContentType="application/inkml+xml"/>
  <Override PartName="/ppt/ink/ink33.xml" ContentType="application/inkml+xml"/>
  <Override PartName="/ppt/notesSlides/notesSlide58.xml" ContentType="application/vnd.openxmlformats-officedocument.presentationml.notesSlide+xml"/>
  <Override PartName="/ppt/ink/ink34.xml" ContentType="application/inkml+xml"/>
  <Override PartName="/ppt/ink/ink35.xml" ContentType="application/inkml+xml"/>
  <Override PartName="/ppt/notesSlides/notesSlide59.xml" ContentType="application/vnd.openxmlformats-officedocument.presentationml.notesSlide+xml"/>
  <Override PartName="/ppt/ink/ink36.xml" ContentType="application/inkml+xml"/>
  <Override PartName="/ppt/ink/ink37.xml" ContentType="application/inkml+xml"/>
  <Override PartName="/ppt/notesSlides/notesSlide60.xml" ContentType="application/vnd.openxmlformats-officedocument.presentationml.notesSlide+xml"/>
  <Override PartName="/ppt/ink/ink38.xml" ContentType="application/inkml+xml"/>
  <Override PartName="/ppt/ink/ink39.xml" ContentType="application/inkml+xml"/>
  <Override PartName="/ppt/notesSlides/notesSlide61.xml" ContentType="application/vnd.openxmlformats-officedocument.presentationml.notesSlide+xml"/>
  <Override PartName="/ppt/ink/ink40.xml" ContentType="application/inkml+xml"/>
  <Override PartName="/ppt/notesSlides/notesSlide62.xml" ContentType="application/vnd.openxmlformats-officedocument.presentationml.notesSlide+xml"/>
  <Override PartName="/ppt/ink/ink41.xml" ContentType="application/inkml+xml"/>
  <Override PartName="/ppt/notesSlides/notesSlide63.xml" ContentType="application/vnd.openxmlformats-officedocument.presentationml.notesSlide+xml"/>
  <Override PartName="/ppt/ink/ink42.xml" ContentType="application/inkml+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notesSlides/notesSlide66.xml" ContentType="application/vnd.openxmlformats-officedocument.presentationml.notesSlide+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notesSlides/notesSlide67.xml" ContentType="application/vnd.openxmlformats-officedocument.presentationml.notesSlide+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notesSlides/notesSlide68.xml" ContentType="application/vnd.openxmlformats-officedocument.presentationml.notesSlide+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notesSlides/notesSlide69.xml" ContentType="application/vnd.openxmlformats-officedocument.presentationml.notesSlide+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notesSlides/notesSlide70.xml" ContentType="application/vnd.openxmlformats-officedocument.presentationml.notesSlide+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notesSlides/notesSlide71.xml" ContentType="application/vnd.openxmlformats-officedocument.presentationml.notesSlide+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notesSlides/notesSlide72.xml" ContentType="application/vnd.openxmlformats-officedocument.presentationml.notesSlide+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notesSlides/notesSlide73.xml" ContentType="application/vnd.openxmlformats-officedocument.presentationml.notesSlide+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ppt/ink/ink381.xml" ContentType="application/inkml+xml"/>
  <Override PartName="/ppt/ink/ink382.xml" ContentType="application/inkml+xml"/>
  <Override PartName="/ppt/ink/ink383.xml" ContentType="application/inkml+xml"/>
  <Override PartName="/ppt/ink/ink384.xml" ContentType="application/inkml+xml"/>
  <Override PartName="/ppt/ink/ink385.xml" ContentType="application/inkml+xml"/>
  <Override PartName="/ppt/ink/ink386.xml" ContentType="application/inkml+xml"/>
  <Override PartName="/ppt/ink/ink387.xml" ContentType="application/inkml+xml"/>
  <Override PartName="/ppt/ink/ink388.xml" ContentType="application/inkml+xml"/>
  <Override PartName="/ppt/ink/ink389.xml" ContentType="application/inkml+xml"/>
  <Override PartName="/ppt/ink/ink390.xml" ContentType="application/inkml+xml"/>
  <Override PartName="/ppt/ink/ink391.xml" ContentType="application/inkml+xml"/>
  <Override PartName="/ppt/ink/ink392.xml" ContentType="application/inkml+xml"/>
  <Override PartName="/ppt/ink/ink393.xml" ContentType="application/inkml+xml"/>
  <Override PartName="/ppt/ink/ink394.xml" ContentType="application/inkml+xml"/>
  <Override PartName="/ppt/ink/ink395.xml" ContentType="application/inkml+xml"/>
  <Override PartName="/ppt/ink/ink396.xml" ContentType="application/inkml+xml"/>
  <Override PartName="/ppt/ink/ink397.xml" ContentType="application/inkml+xml"/>
  <Override PartName="/ppt/ink/ink398.xml" ContentType="application/inkml+xml"/>
  <Override PartName="/ppt/ink/ink399.xml" ContentType="application/inkml+xml"/>
  <Override PartName="/ppt/ink/ink400.xml" ContentType="application/inkml+xml"/>
  <Override PartName="/ppt/ink/ink401.xml" ContentType="application/inkml+xml"/>
  <Override PartName="/ppt/ink/ink402.xml" ContentType="application/inkml+xml"/>
  <Override PartName="/ppt/ink/ink403.xml" ContentType="application/inkml+xml"/>
  <Override PartName="/ppt/ink/ink404.xml" ContentType="application/inkml+xml"/>
  <Override PartName="/ppt/ink/ink405.xml" ContentType="application/inkml+xml"/>
  <Override PartName="/ppt/ink/ink406.xml" ContentType="application/inkml+xml"/>
  <Override PartName="/ppt/ink/ink407.xml" ContentType="application/inkml+xml"/>
  <Override PartName="/ppt/ink/ink408.xml" ContentType="application/inkml+xml"/>
  <Override PartName="/ppt/ink/ink409.xml" ContentType="application/inkml+xml"/>
  <Override PartName="/ppt/ink/ink410.xml" ContentType="application/inkml+xml"/>
  <Override PartName="/ppt/ink/ink411.xml" ContentType="application/inkml+xml"/>
  <Override PartName="/ppt/ink/ink412.xml" ContentType="application/inkml+xml"/>
  <Override PartName="/ppt/ink/ink413.xml" ContentType="application/inkml+xml"/>
  <Override PartName="/ppt/ink/ink414.xml" ContentType="application/inkml+xml"/>
  <Override PartName="/ppt/ink/ink415.xml" ContentType="application/inkml+xml"/>
  <Override PartName="/ppt/ink/ink416.xml" ContentType="application/inkml+xml"/>
  <Override PartName="/ppt/ink/ink417.xml" ContentType="application/inkml+xml"/>
  <Override PartName="/ppt/ink/ink418.xml" ContentType="application/inkml+xml"/>
  <Override PartName="/ppt/ink/ink419.xml" ContentType="application/inkml+xml"/>
  <Override PartName="/ppt/ink/ink420.xml" ContentType="application/inkml+xml"/>
  <Override PartName="/ppt/ink/ink421.xml" ContentType="application/inkml+xml"/>
  <Override PartName="/ppt/ink/ink422.xml" ContentType="application/inkml+xml"/>
  <Override PartName="/ppt/ink/ink423.xml" ContentType="application/inkml+xml"/>
  <Override PartName="/ppt/ink/ink424.xml" ContentType="application/inkml+xml"/>
  <Override PartName="/ppt/ink/ink425.xml" ContentType="application/inkml+xml"/>
  <Override PartName="/ppt/ink/ink426.xml" ContentType="application/inkml+xml"/>
  <Override PartName="/ppt/ink/ink427.xml" ContentType="application/inkml+xml"/>
  <Override PartName="/ppt/ink/ink428.xml" ContentType="application/inkml+xml"/>
  <Override PartName="/ppt/ink/ink429.xml" ContentType="application/inkml+xml"/>
  <Override PartName="/ppt/ink/ink430.xml" ContentType="application/inkml+xml"/>
  <Override PartName="/ppt/ink/ink431.xml" ContentType="application/inkml+xml"/>
  <Override PartName="/ppt/ink/ink432.xml" ContentType="application/inkml+xml"/>
  <Override PartName="/ppt/ink/ink433.xml" ContentType="application/inkml+xml"/>
  <Override PartName="/ppt/ink/ink434.xml" ContentType="application/inkml+xml"/>
  <Override PartName="/ppt/ink/ink435.xml" ContentType="application/inkml+xml"/>
  <Override PartName="/ppt/ink/ink436.xml" ContentType="application/inkml+xml"/>
  <Override PartName="/ppt/ink/ink437.xml" ContentType="application/inkml+xml"/>
  <Override PartName="/ppt/ink/ink438.xml" ContentType="application/inkml+xml"/>
  <Override PartName="/ppt/ink/ink439.xml" ContentType="application/inkml+xml"/>
  <Override PartName="/ppt/ink/ink440.xml" ContentType="application/inkml+xml"/>
  <Override PartName="/ppt/ink/ink441.xml" ContentType="application/inkml+xml"/>
  <Override PartName="/ppt/ink/ink442.xml" ContentType="application/inkml+xml"/>
  <Override PartName="/ppt/ink/ink443.xml" ContentType="application/inkml+xml"/>
  <Override PartName="/ppt/ink/ink444.xml" ContentType="application/inkml+xml"/>
  <Override PartName="/ppt/ink/ink445.xml" ContentType="application/inkml+xml"/>
  <Override PartName="/ppt/ink/ink446.xml" ContentType="application/inkml+xml"/>
  <Override PartName="/ppt/ink/ink447.xml" ContentType="application/inkml+xml"/>
  <Override PartName="/ppt/ink/ink448.xml" ContentType="application/inkml+xml"/>
  <Override PartName="/ppt/ink/ink449.xml" ContentType="application/inkml+xml"/>
  <Override PartName="/ppt/ink/ink450.xml" ContentType="application/inkml+xml"/>
  <Override PartName="/ppt/ink/ink451.xml" ContentType="application/inkml+xml"/>
  <Override PartName="/ppt/ink/ink452.xml" ContentType="application/inkml+xml"/>
  <Override PartName="/ppt/ink/ink453.xml" ContentType="application/inkml+xml"/>
  <Override PartName="/ppt/ink/ink454.xml" ContentType="application/inkml+xml"/>
  <Override PartName="/ppt/notesSlides/notesSlide74.xml" ContentType="application/vnd.openxmlformats-officedocument.presentationml.notesSlide+xml"/>
  <Override PartName="/ppt/ink/ink455.xml" ContentType="application/inkml+xml"/>
  <Override PartName="/ppt/ink/ink456.xml" ContentType="application/inkml+xml"/>
  <Override PartName="/ppt/ink/ink457.xml" ContentType="application/inkml+xml"/>
  <Override PartName="/ppt/ink/ink458.xml" ContentType="application/inkml+xml"/>
  <Override PartName="/ppt/ink/ink459.xml" ContentType="application/inkml+xml"/>
  <Override PartName="/ppt/ink/ink460.xml" ContentType="application/inkml+xml"/>
  <Override PartName="/ppt/ink/ink461.xml" ContentType="application/inkml+xml"/>
  <Override PartName="/ppt/ink/ink462.xml" ContentType="application/inkml+xml"/>
  <Override PartName="/ppt/ink/ink463.xml" ContentType="application/inkml+xml"/>
  <Override PartName="/ppt/ink/ink464.xml" ContentType="application/inkml+xml"/>
  <Override PartName="/ppt/ink/ink465.xml" ContentType="application/inkml+xml"/>
  <Override PartName="/ppt/ink/ink466.xml" ContentType="application/inkml+xml"/>
  <Override PartName="/ppt/ink/ink467.xml" ContentType="application/inkml+xml"/>
  <Override PartName="/ppt/ink/ink468.xml" ContentType="application/inkml+xml"/>
  <Override PartName="/ppt/ink/ink469.xml" ContentType="application/inkml+xml"/>
  <Override PartName="/ppt/ink/ink470.xml" ContentType="application/inkml+xml"/>
  <Override PartName="/ppt/ink/ink471.xml" ContentType="application/inkml+xml"/>
  <Override PartName="/ppt/ink/ink472.xml" ContentType="application/inkml+xml"/>
  <Override PartName="/ppt/ink/ink473.xml" ContentType="application/inkml+xml"/>
  <Override PartName="/ppt/ink/ink474.xml" ContentType="application/inkml+xml"/>
  <Override PartName="/ppt/ink/ink475.xml" ContentType="application/inkml+xml"/>
  <Override PartName="/ppt/ink/ink476.xml" ContentType="application/inkml+xml"/>
  <Override PartName="/ppt/ink/ink477.xml" ContentType="application/inkml+xml"/>
  <Override PartName="/ppt/ink/ink478.xml" ContentType="application/inkml+xml"/>
  <Override PartName="/ppt/ink/ink479.xml" ContentType="application/inkml+xml"/>
  <Override PartName="/ppt/ink/ink480.xml" ContentType="application/inkml+xml"/>
  <Override PartName="/ppt/ink/ink481.xml" ContentType="application/inkml+xml"/>
  <Override PartName="/ppt/ink/ink482.xml" ContentType="application/inkml+xml"/>
  <Override PartName="/ppt/ink/ink483.xml" ContentType="application/inkml+xml"/>
  <Override PartName="/ppt/ink/ink484.xml" ContentType="application/inkml+xml"/>
  <Override PartName="/ppt/ink/ink485.xml" ContentType="application/inkml+xml"/>
  <Override PartName="/ppt/ink/ink486.xml" ContentType="application/inkml+xml"/>
  <Override PartName="/ppt/ink/ink487.xml" ContentType="application/inkml+xml"/>
  <Override PartName="/ppt/ink/ink488.xml" ContentType="application/inkml+xml"/>
  <Override PartName="/ppt/ink/ink489.xml" ContentType="application/inkml+xml"/>
  <Override PartName="/ppt/ink/ink490.xml" ContentType="application/inkml+xml"/>
  <Override PartName="/ppt/ink/ink491.xml" ContentType="application/inkml+xml"/>
  <Override PartName="/ppt/ink/ink492.xml" ContentType="application/inkml+xml"/>
  <Override PartName="/ppt/ink/ink493.xml" ContentType="application/inkml+xml"/>
  <Override PartName="/ppt/ink/ink494.xml" ContentType="application/inkml+xml"/>
  <Override PartName="/ppt/ink/ink495.xml" ContentType="application/inkml+xml"/>
  <Override PartName="/ppt/ink/ink496.xml" ContentType="application/inkml+xml"/>
  <Override PartName="/ppt/ink/ink497.xml" ContentType="application/inkml+xml"/>
  <Override PartName="/ppt/ink/ink498.xml" ContentType="application/inkml+xml"/>
  <Override PartName="/ppt/ink/ink499.xml" ContentType="application/inkml+xml"/>
  <Override PartName="/ppt/ink/ink500.xml" ContentType="application/inkml+xml"/>
  <Override PartName="/ppt/ink/ink501.xml" ContentType="application/inkml+xml"/>
  <Override PartName="/ppt/ink/ink502.xml" ContentType="application/inkml+xml"/>
  <Override PartName="/ppt/ink/ink503.xml" ContentType="application/inkml+xml"/>
  <Override PartName="/ppt/ink/ink504.xml" ContentType="application/inkml+xml"/>
  <Override PartName="/ppt/ink/ink505.xml" ContentType="application/inkml+xml"/>
  <Override PartName="/ppt/ink/ink506.xml" ContentType="application/inkml+xml"/>
  <Override PartName="/ppt/ink/ink507.xml" ContentType="application/inkml+xml"/>
  <Override PartName="/ppt/ink/ink508.xml" ContentType="application/inkml+xml"/>
  <Override PartName="/ppt/ink/ink509.xml" ContentType="application/inkml+xml"/>
  <Override PartName="/ppt/ink/ink510.xml" ContentType="application/inkml+xml"/>
  <Override PartName="/ppt/ink/ink511.xml" ContentType="application/inkml+xml"/>
  <Override PartName="/ppt/ink/ink512.xml" ContentType="application/inkml+xml"/>
  <Override PartName="/ppt/ink/ink513.xml" ContentType="application/inkml+xml"/>
  <Override PartName="/ppt/ink/ink514.xml" ContentType="application/inkml+xml"/>
  <Override PartName="/ppt/ink/ink515.xml" ContentType="application/inkml+xml"/>
  <Override PartName="/ppt/ink/ink516.xml" ContentType="application/inkml+xml"/>
  <Override PartName="/ppt/ink/ink517.xml" ContentType="application/inkml+xml"/>
  <Override PartName="/ppt/ink/ink518.xml" ContentType="application/inkml+xml"/>
  <Override PartName="/ppt/ink/ink519.xml" ContentType="application/inkml+xml"/>
  <Override PartName="/ppt/ink/ink520.xml" ContentType="application/inkml+xml"/>
  <Override PartName="/ppt/ink/ink521.xml" ContentType="application/inkml+xml"/>
  <Override PartName="/ppt/ink/ink522.xml" ContentType="application/inkml+xml"/>
  <Override PartName="/ppt/ink/ink523.xml" ContentType="application/inkml+xml"/>
  <Override PartName="/ppt/ink/ink524.xml" ContentType="application/inkml+xml"/>
  <Override PartName="/ppt/ink/ink525.xml" ContentType="application/inkml+xml"/>
  <Override PartName="/ppt/ink/ink526.xml" ContentType="application/inkml+xml"/>
  <Override PartName="/ppt/ink/ink527.xml" ContentType="application/inkml+xml"/>
  <Override PartName="/ppt/ink/ink528.xml" ContentType="application/inkml+xml"/>
  <Override PartName="/ppt/ink/ink529.xml" ContentType="application/inkml+xml"/>
  <Override PartName="/ppt/ink/ink530.xml" ContentType="application/inkml+xml"/>
  <Override PartName="/ppt/ink/ink531.xml" ContentType="application/inkml+xml"/>
  <Override PartName="/ppt/ink/ink532.xml" ContentType="application/inkml+xml"/>
  <Override PartName="/ppt/ink/ink533.xml" ContentType="application/inkml+xml"/>
  <Override PartName="/ppt/ink/ink534.xml" ContentType="application/inkml+xml"/>
  <Override PartName="/ppt/ink/ink535.xml" ContentType="application/inkml+xml"/>
  <Override PartName="/ppt/ink/ink536.xml" ContentType="application/inkml+xml"/>
  <Override PartName="/ppt/ink/ink537.xml" ContentType="application/inkml+xml"/>
  <Override PartName="/ppt/ink/ink538.xml" ContentType="application/inkml+xml"/>
  <Override PartName="/ppt/ink/ink539.xml" ContentType="application/inkml+xml"/>
  <Override PartName="/ppt/ink/ink540.xml" ContentType="application/inkml+xml"/>
  <Override PartName="/ppt/ink/ink541.xml" ContentType="application/inkml+xml"/>
  <Override PartName="/ppt/ink/ink542.xml" ContentType="application/inkml+xml"/>
  <Override PartName="/ppt/ink/ink543.xml" ContentType="application/inkml+xml"/>
  <Override PartName="/ppt/ink/ink544.xml" ContentType="application/inkml+xml"/>
  <Override PartName="/ppt/ink/ink545.xml" ContentType="application/inkml+xml"/>
  <Override PartName="/ppt/ink/ink546.xml" ContentType="application/inkml+xml"/>
  <Override PartName="/ppt/ink/ink547.xml" ContentType="application/inkml+xml"/>
  <Override PartName="/ppt/ink/ink548.xml" ContentType="application/inkml+xml"/>
  <Override PartName="/ppt/notesSlides/notesSlide75.xml" ContentType="application/vnd.openxmlformats-officedocument.presentationml.notesSlide+xml"/>
  <Override PartName="/ppt/ink/ink549.xml" ContentType="application/inkml+xml"/>
  <Override PartName="/ppt/ink/ink550.xml" ContentType="application/inkml+xml"/>
  <Override PartName="/ppt/ink/ink551.xml" ContentType="application/inkml+xml"/>
  <Override PartName="/ppt/ink/ink552.xml" ContentType="application/inkml+xml"/>
  <Override PartName="/ppt/ink/ink553.xml" ContentType="application/inkml+xml"/>
  <Override PartName="/ppt/ink/ink554.xml" ContentType="application/inkml+xml"/>
  <Override PartName="/ppt/ink/ink555.xml" ContentType="application/inkml+xml"/>
  <Override PartName="/ppt/ink/ink556.xml" ContentType="application/inkml+xml"/>
  <Override PartName="/ppt/ink/ink557.xml" ContentType="application/inkml+xml"/>
  <Override PartName="/ppt/ink/ink558.xml" ContentType="application/inkml+xml"/>
  <Override PartName="/ppt/ink/ink559.xml" ContentType="application/inkml+xml"/>
  <Override PartName="/ppt/ink/ink560.xml" ContentType="application/inkml+xml"/>
  <Override PartName="/ppt/ink/ink561.xml" ContentType="application/inkml+xml"/>
  <Override PartName="/ppt/ink/ink562.xml" ContentType="application/inkml+xml"/>
  <Override PartName="/ppt/ink/ink563.xml" ContentType="application/inkml+xml"/>
  <Override PartName="/ppt/ink/ink564.xml" ContentType="application/inkml+xml"/>
  <Override PartName="/ppt/ink/ink565.xml" ContentType="application/inkml+xml"/>
  <Override PartName="/ppt/ink/ink566.xml" ContentType="application/inkml+xml"/>
  <Override PartName="/ppt/ink/ink567.xml" ContentType="application/inkml+xml"/>
  <Override PartName="/ppt/ink/ink568.xml" ContentType="application/inkml+xml"/>
  <Override PartName="/ppt/ink/ink569.xml" ContentType="application/inkml+xml"/>
  <Override PartName="/ppt/ink/ink570.xml" ContentType="application/inkml+xml"/>
  <Override PartName="/ppt/ink/ink571.xml" ContentType="application/inkml+xml"/>
  <Override PartName="/ppt/ink/ink572.xml" ContentType="application/inkml+xml"/>
  <Override PartName="/ppt/ink/ink573.xml" ContentType="application/inkml+xml"/>
  <Override PartName="/ppt/ink/ink574.xml" ContentType="application/inkml+xml"/>
  <Override PartName="/ppt/ink/ink575.xml" ContentType="application/inkml+xml"/>
  <Override PartName="/ppt/ink/ink576.xml" ContentType="application/inkml+xml"/>
  <Override PartName="/ppt/ink/ink577.xml" ContentType="application/inkml+xml"/>
  <Override PartName="/ppt/ink/ink578.xml" ContentType="application/inkml+xml"/>
  <Override PartName="/ppt/ink/ink579.xml" ContentType="application/inkml+xml"/>
  <Override PartName="/ppt/ink/ink580.xml" ContentType="application/inkml+xml"/>
  <Override PartName="/ppt/ink/ink581.xml" ContentType="application/inkml+xml"/>
  <Override PartName="/ppt/ink/ink582.xml" ContentType="application/inkml+xml"/>
  <Override PartName="/ppt/ink/ink583.xml" ContentType="application/inkml+xml"/>
  <Override PartName="/ppt/ink/ink584.xml" ContentType="application/inkml+xml"/>
  <Override PartName="/ppt/ink/ink585.xml" ContentType="application/inkml+xml"/>
  <Override PartName="/ppt/ink/ink586.xml" ContentType="application/inkml+xml"/>
  <Override PartName="/ppt/ink/ink587.xml" ContentType="application/inkml+xml"/>
  <Override PartName="/ppt/ink/ink588.xml" ContentType="application/inkml+xml"/>
  <Override PartName="/ppt/ink/ink589.xml" ContentType="application/inkml+xml"/>
  <Override PartName="/ppt/ink/ink590.xml" ContentType="application/inkml+xml"/>
  <Override PartName="/ppt/ink/ink591.xml" ContentType="application/inkml+xml"/>
  <Override PartName="/ppt/ink/ink592.xml" ContentType="application/inkml+xml"/>
  <Override PartName="/ppt/ink/ink593.xml" ContentType="application/inkml+xml"/>
  <Override PartName="/ppt/ink/ink594.xml" ContentType="application/inkml+xml"/>
  <Override PartName="/ppt/ink/ink595.xml" ContentType="application/inkml+xml"/>
  <Override PartName="/ppt/ink/ink596.xml" ContentType="application/inkml+xml"/>
  <Override PartName="/ppt/ink/ink597.xml" ContentType="application/inkml+xml"/>
  <Override PartName="/ppt/ink/ink598.xml" ContentType="application/inkml+xml"/>
  <Override PartName="/ppt/ink/ink599.xml" ContentType="application/inkml+xml"/>
  <Override PartName="/ppt/ink/ink600.xml" ContentType="application/inkml+xml"/>
  <Override PartName="/ppt/ink/ink601.xml" ContentType="application/inkml+xml"/>
  <Override PartName="/ppt/ink/ink602.xml" ContentType="application/inkml+xml"/>
  <Override PartName="/ppt/ink/ink603.xml" ContentType="application/inkml+xml"/>
  <Override PartName="/ppt/ink/ink604.xml" ContentType="application/inkml+xml"/>
  <Override PartName="/ppt/ink/ink605.xml" ContentType="application/inkml+xml"/>
  <Override PartName="/ppt/ink/ink606.xml" ContentType="application/inkml+xml"/>
  <Override PartName="/ppt/ink/ink607.xml" ContentType="application/inkml+xml"/>
  <Override PartName="/ppt/ink/ink608.xml" ContentType="application/inkml+xml"/>
  <Override PartName="/ppt/ink/ink609.xml" ContentType="application/inkml+xml"/>
  <Override PartName="/ppt/ink/ink610.xml" ContentType="application/inkml+xml"/>
  <Override PartName="/ppt/ink/ink611.xml" ContentType="application/inkml+xml"/>
  <Override PartName="/ppt/ink/ink612.xml" ContentType="application/inkml+xml"/>
  <Override PartName="/ppt/ink/ink613.xml" ContentType="application/inkml+xml"/>
  <Override PartName="/ppt/ink/ink614.xml" ContentType="application/inkml+xml"/>
  <Override PartName="/ppt/ink/ink615.xml" ContentType="application/inkml+xml"/>
  <Override PartName="/ppt/ink/ink616.xml" ContentType="application/inkml+xml"/>
  <Override PartName="/ppt/ink/ink617.xml" ContentType="application/inkml+xml"/>
  <Override PartName="/ppt/ink/ink618.xml" ContentType="application/inkml+xml"/>
  <Override PartName="/ppt/ink/ink619.xml" ContentType="application/inkml+xml"/>
  <Override PartName="/ppt/ink/ink620.xml" ContentType="application/inkml+xml"/>
  <Override PartName="/ppt/ink/ink621.xml" ContentType="application/inkml+xml"/>
  <Override PartName="/ppt/ink/ink622.xml" ContentType="application/inkml+xml"/>
  <Override PartName="/ppt/ink/ink623.xml" ContentType="application/inkml+xml"/>
  <Override PartName="/ppt/ink/ink624.xml" ContentType="application/inkml+xml"/>
  <Override PartName="/ppt/ink/ink625.xml" ContentType="application/inkml+xml"/>
  <Override PartName="/ppt/ink/ink626.xml" ContentType="application/inkml+xml"/>
  <Override PartName="/ppt/ink/ink627.xml" ContentType="application/inkml+xml"/>
  <Override PartName="/ppt/ink/ink628.xml" ContentType="application/inkml+xml"/>
  <Override PartName="/ppt/ink/ink629.xml" ContentType="application/inkml+xml"/>
  <Override PartName="/ppt/ink/ink630.xml" ContentType="application/inkml+xml"/>
  <Override PartName="/ppt/ink/ink631.xml" ContentType="application/inkml+xml"/>
  <Override PartName="/ppt/ink/ink632.xml" ContentType="application/inkml+xml"/>
  <Override PartName="/ppt/ink/ink633.xml" ContentType="application/inkml+xml"/>
  <Override PartName="/ppt/ink/ink634.xml" ContentType="application/inkml+xml"/>
  <Override PartName="/ppt/ink/ink635.xml" ContentType="application/inkml+xml"/>
  <Override PartName="/ppt/ink/ink636.xml" ContentType="application/inkml+xml"/>
  <Override PartName="/ppt/ink/ink637.xml" ContentType="application/inkml+xml"/>
  <Override PartName="/ppt/ink/ink638.xml" ContentType="application/inkml+xml"/>
  <Override PartName="/ppt/ink/ink639.xml" ContentType="application/inkml+xml"/>
  <Override PartName="/ppt/ink/ink640.xml" ContentType="application/inkml+xml"/>
  <Override PartName="/ppt/ink/ink641.xml" ContentType="application/inkml+xml"/>
  <Override PartName="/ppt/ink/ink642.xml" ContentType="application/inkml+xml"/>
  <Override PartName="/ppt/ink/ink643.xml" ContentType="application/inkml+xml"/>
  <Override PartName="/ppt/ink/ink644.xml" ContentType="application/inkml+xml"/>
  <Override PartName="/ppt/ink/ink645.xml" ContentType="application/inkml+xml"/>
  <Override PartName="/ppt/ink/ink646.xml" ContentType="application/inkml+xml"/>
  <Override PartName="/ppt/ink/ink647.xml" ContentType="application/inkml+xml"/>
  <Override PartName="/ppt/ink/ink648.xml" ContentType="application/inkml+xml"/>
  <Override PartName="/ppt/ink/ink649.xml" ContentType="application/inkml+xml"/>
  <Override PartName="/ppt/ink/ink650.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77"/>
  </p:notesMasterIdLst>
  <p:handoutMasterIdLst>
    <p:handoutMasterId r:id="rId78"/>
  </p:handoutMasterIdLst>
  <p:sldIdLst>
    <p:sldId id="528" r:id="rId2"/>
    <p:sldId id="636" r:id="rId3"/>
    <p:sldId id="588" r:id="rId4"/>
    <p:sldId id="637" r:id="rId5"/>
    <p:sldId id="593" r:id="rId6"/>
    <p:sldId id="605" r:id="rId7"/>
    <p:sldId id="589" r:id="rId8"/>
    <p:sldId id="642" r:id="rId9"/>
    <p:sldId id="647" r:id="rId10"/>
    <p:sldId id="646" r:id="rId11"/>
    <p:sldId id="645" r:id="rId12"/>
    <p:sldId id="644" r:id="rId13"/>
    <p:sldId id="643" r:id="rId14"/>
    <p:sldId id="640" r:id="rId15"/>
    <p:sldId id="641" r:id="rId16"/>
    <p:sldId id="639" r:id="rId17"/>
    <p:sldId id="648" r:id="rId18"/>
    <p:sldId id="590" r:id="rId19"/>
    <p:sldId id="620" r:id="rId20"/>
    <p:sldId id="649" r:id="rId21"/>
    <p:sldId id="650" r:id="rId22"/>
    <p:sldId id="622" r:id="rId23"/>
    <p:sldId id="652" r:id="rId24"/>
    <p:sldId id="653" r:id="rId25"/>
    <p:sldId id="623" r:id="rId26"/>
    <p:sldId id="654" r:id="rId27"/>
    <p:sldId id="626" r:id="rId28"/>
    <p:sldId id="627" r:id="rId29"/>
    <p:sldId id="617" r:id="rId30"/>
    <p:sldId id="592" r:id="rId31"/>
    <p:sldId id="594" r:id="rId32"/>
    <p:sldId id="595" r:id="rId33"/>
    <p:sldId id="597" r:id="rId34"/>
    <p:sldId id="634" r:id="rId35"/>
    <p:sldId id="625" r:id="rId36"/>
    <p:sldId id="598" r:id="rId37"/>
    <p:sldId id="568" r:id="rId38"/>
    <p:sldId id="621" r:id="rId39"/>
    <p:sldId id="628" r:id="rId40"/>
    <p:sldId id="630" r:id="rId41"/>
    <p:sldId id="606" r:id="rId42"/>
    <p:sldId id="607" r:id="rId43"/>
    <p:sldId id="631" r:id="rId44"/>
    <p:sldId id="633" r:id="rId45"/>
    <p:sldId id="632" r:id="rId46"/>
    <p:sldId id="635" r:id="rId47"/>
    <p:sldId id="596" r:id="rId48"/>
    <p:sldId id="655" r:id="rId49"/>
    <p:sldId id="659" r:id="rId50"/>
    <p:sldId id="656" r:id="rId51"/>
    <p:sldId id="657" r:id="rId52"/>
    <p:sldId id="658" r:id="rId53"/>
    <p:sldId id="662" r:id="rId54"/>
    <p:sldId id="663" r:id="rId55"/>
    <p:sldId id="661" r:id="rId56"/>
    <p:sldId id="664" r:id="rId57"/>
    <p:sldId id="665" r:id="rId58"/>
    <p:sldId id="660" r:id="rId59"/>
    <p:sldId id="666" r:id="rId60"/>
    <p:sldId id="669" r:id="rId61"/>
    <p:sldId id="668" r:id="rId62"/>
    <p:sldId id="667" r:id="rId63"/>
    <p:sldId id="671" r:id="rId64"/>
    <p:sldId id="670" r:id="rId65"/>
    <p:sldId id="672" r:id="rId66"/>
    <p:sldId id="673" r:id="rId67"/>
    <p:sldId id="674" r:id="rId68"/>
    <p:sldId id="675" r:id="rId69"/>
    <p:sldId id="676" r:id="rId70"/>
    <p:sldId id="677" r:id="rId71"/>
    <p:sldId id="678" r:id="rId72"/>
    <p:sldId id="679" r:id="rId73"/>
    <p:sldId id="680" r:id="rId74"/>
    <p:sldId id="681" r:id="rId75"/>
    <p:sldId id="682" r:id="rId76"/>
  </p:sldIdLst>
  <p:sldSz cx="9906000" cy="6858000" type="A4"/>
  <p:notesSz cx="6797675" cy="9928225"/>
  <p:custDataLst>
    <p:tags r:id="rId79"/>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A8200"/>
    <a:srgbClr val="00338C"/>
    <a:srgbClr val="FE7DA0"/>
    <a:srgbClr val="DDFFEC"/>
    <a:srgbClr val="F9BE01"/>
    <a:srgbClr val="2595FF"/>
    <a:srgbClr val="005B7C"/>
    <a:srgbClr val="00498D"/>
    <a:srgbClr val="92C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014" autoAdjust="0"/>
    <p:restoredTop sz="96911" autoAdjust="0"/>
  </p:normalViewPr>
  <p:slideViewPr>
    <p:cSldViewPr snapToGrid="0">
      <p:cViewPr varScale="1">
        <p:scale>
          <a:sx n="128" d="100"/>
          <a:sy n="128" d="100"/>
        </p:scale>
        <p:origin x="75" y="168"/>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1.901"/>
    </inkml:context>
    <inkml:brush xml:id="br0">
      <inkml:brushProperty name="width" value="0.05" units="cm"/>
      <inkml:brushProperty name="height" value="0.05" units="cm"/>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44.434"/>
    </inkml:context>
    <inkml:brush xml:id="br0">
      <inkml:brushProperty name="width" value="0.35" units="cm"/>
      <inkml:brushProperty name="height" value="0.35" units="cm"/>
    </inkml:brush>
  </inkml:definitions>
  <inkml:trace contextRef="#ctx0" brushRef="#br0">2323 1109 608 0 0,'-61'49'13025'0'0,"61"-96"-12876"0"0,0 47-141 0 0,0 25 331 0 0,0 0-323 0 0,0-17 90 0 0,0-12 21 0 0,3-13 16 0 0,2 4-45 0 0,1 0-1 0 0,1 0 0 0 0,0 0 0 0 0,17-20 1 0 0,-1-2-99 0 0,141-242-354 0 0,-163 275 351 0 0,0 1 1 0 0,0-1 0 0 0,0 0 1 0 0,0 0-1 0 0,-1 0 0 0 0,1 1 0 0 0,-1-1 0 0 0,1 0 1 0 0,-1 0-1 0 0,1-3 0 0 0,-1 4 24 0 0,-16 17 409 0 0,-74 55-386 0 0,38-32-3 0 0,24-17 195 0 0,-59 35 0 0 0,86-74 101 0 0,1 8-353 0 0,1 0 1 0 0,0 0 0 0 0,1 1 0 0 0,0-1 0 0 0,0 1-1 0 0,5-12 1 0 0,26-50-213 0 0,-8 18 173 0 0,-14 27 68 0 0,26-65-300 0 0,-32 77 204 0 0,-2 1-1 0 0,0-1 1 0 0,0 0 0 0 0,-2 0 0 0 0,2-18-1 0 0,-3 30 82 0 0,-1 0-1 0 0,1 1 0 0 0,0-1 0 0 0,0 0 0 0 0,0 1 0 0 0,0-1 0 0 0,-1 1 1 0 0,1-1-1 0 0,0 0 0 0 0,0 1 0 0 0,-1-1 0 0 0,1 1 0 0 0,-1-1 0 0 0,1 1 0 0 0,0-1 1 0 0,-1 1-1 0 0,1-1 0 0 0,-1 1 0 0 0,1-1 0 0 0,-1 1 0 0 0,1 0 0 0 0,-1-1 1 0 0,0 1-1 0 0,1 0 0 0 0,-1-1 0 0 0,1 1 0 0 0,-1 0 0 0 0,0 0 0 0 0,1 0 1 0 0,-1-1-1 0 0,0 1 0 0 0,1 0 0 0 0,-1 0 0 0 0,0 0 0 0 0,1 0 0 0 0,-1 0 1 0 0,0 0-1 0 0,0 1 0 0 0,-29 4-35 0 0,13 1 14 0 0,1 1 0 0 0,0 1 0 0 0,0 1 0 0 0,1 0 0 0 0,0 1 0 0 0,-18 16 1 0 0,13-11 6 0 0,-95 79 74 0 0,18-14 153 0 0,70-61-144 0 0,27-22 20 0 0,0 1-79 0 0,1 0 0 0 0,-1 1 1 0 0,1-1-1 0 0,-1 0 0 0 0,1 0 0 0 0,0 0 1 0 0,0 1-1 0 0,0-1 0 0 0,0 0 1 0 0,2-2-1 0 0,16-17 5 0 0,28-25 0 0 0,-14 14 4 0 0,378-337 184 0 0,-388 350-248 0 0,-26 25 315 0 0,-12 11-196 0 0,-1-2 0 0 0,-1 1 0 0 0,-19 13 0 0 0,-18 14-19 0 0,-74 80-52 0 0,115-113 21 0 0,20-18-125 0 0,167-136-142 0 0,-79 69 324 0 0,-1-2-7 0 0,195-149 29 0 0,-286 225-162 0 0,-7 8 115 0 0,-1-1-1 0 0,0 1 1 0 0,0-1-1 0 0,0 0 1 0 0,0 0-1 0 0,-1 0 1 0 0,-7 5-1 0 0,-2 2-26 0 0,-384 394 95 0 0,347-351-66 0 0,22-25-31 0 0,-46 65 0 0 0,76-96-24 0 0,0 0-1 0 0,0 0 0 0 0,0 0 1 0 0,1 0-1 0 0,-1 0 1 0 0,0 0-1 0 0,0 0 0 0 0,0 0 1 0 0,0 0-1 0 0,0 0 0 0 0,0 0 1 0 0,0 0-1 0 0,0 0 1 0 0,0 0-1 0 0,0 0 0 0 0,0 1 1 0 0,0-1-1 0 0,0 0 1 0 0,1 0-1 0 0,-1 0 0 0 0,0 0 1 0 0,0 0-1 0 0,0 0 1 0 0,0 0-1 0 0,0 0 0 0 0,0 0 1 0 0,0 0-1 0 0,0 1 1 0 0,0-1-1 0 0,0 0 0 0 0,12-6-91 0 0,1-1-1 0 0,-1-1 1 0 0,18-14-1 0 0,-4 2 23 0 0,484-379 471 0 0,-380 293-324 0 0,-41 37-61 0 0,-90 73-88 0 0,1-2 90 0 0,-1-1 1 0 0,1 1 0 0 0,-1 0-1 0 0,1-1 1 0 0,-1 1 0 0 0,0 0-1 0 0,0-1 1 0 0,-2 3 0 0 0,-26 29 181 0 0,-52 42 0 0 0,18-18-123 0 0,-301 297-109 0 0,38-35 83 0 0,295-284-32 0 0,28-28-12 0 0,7-7-15 0 0,19-12-117 0 0,188-138-364 0 0,-86 59 576 0 0,120-85 68 0 0,379-263 135 0 0,-607 428-301 0 0,-13 8-2 0 0,0 1 1 0 0,0-1 0 0 0,0 0-1 0 0,0 0 1 0 0,6-7 0 0 0,-33 48 126 0 0,-2-12 19 0 0,-56 42-1 0 0,49-43-124 0 0,-299 252 9 0 0,98-81-61 0 0,-64 59 92 0 0,330-275-184 0 0,277-182-46 0 0,248-159 513 0 0,-486 313-339 0 0,50-29-59 0 0,-122 77 67 0 0,0 0-1 0 0,0 0 0 0 0,0 0 1 0 0,0 0-1 0 0,0 0 0 0 0,0 0 1 0 0,0 0-1 0 0,1 0 0 0 0,-1 0 1 0 0,0 0-1 0 0,0 0 0 0 0,0 0 1 0 0,0 0-1 0 0,0 0 0 0 0,0 0 0 0 0,0 0 1 0 0,0 0-1 0 0,1 0 0 0 0,-1 0 1 0 0,0 0-1 0 0,0 0 0 0 0,0 1 1 0 0,0-1-1 0 0,0 0 0 0 0,0 0 1 0 0,0 0-1 0 0,0 0 0 0 0,0 0 1 0 0,0 0-1 0 0,0 0 0 0 0,0 0 0 0 0,0 0 1 0 0,0 1-1 0 0,0-1 0 0 0,0 0 1 0 0,0 0-1 0 0,0 0 0 0 0,0 0 1 0 0,0 0-1 0 0,0 0 0 0 0,0 0 1 0 0,0 0-1 0 0,0 1 0 0 0,0-1 0 0 0,0 0 1 0 0,0 0-1 0 0,0 0 0 0 0,0 0 1 0 0,0 0-1 0 0,0 0 0 0 0,0 0 1 0 0,0 0-1 0 0,0 1 0 0 0,0-1 1 0 0,0 0-1 0 0,0 0 0 0 0,0 0 1 0 0,-1 0-1 0 0,1 0 0 0 0,0 0 0 0 0,0 0 1 0 0,0 0-1 0 0,0 0 0 0 0,-6 11 67 0 0,-15 9 4 0 0,-27 19 0 0 0,13-12-37 0 0,-404 324 19 0 0,174-142-80 0 0,259-203-49 0 0,19-14-10 0 0,34-23-72 0 0,47-31 162 0 0,816-523 235 0 0,-813 530-238 0 0,-94 54-8 0 0,5-3-6 0 0,-12 12-98 0 0,-19 15 188 0 0,-1-1-1 0 0,-47 33 1 0 0,14-13-57 0 0,-280 239 38 0 0,201-165-50 0 0,12-8 3 0 0,108-92-83 0 0,16-17 72 0 0,0 1 0 0 0,0 0 0 0 0,0 0 0 0 0,1 0 0 0 0,-1 0 0 0 0,0 0 0 0 0,0 0 0 0 0,0 0 0 0 0,0 0 0 0 0,0 0 0 0 0,0 0 0 0 0,0 0 1 0 0,0 0-1 0 0,0 0 0 0 0,0 0 0 0 0,0 0 0 0 0,0 0 0 0 0,1 0 0 0 0,-1 0 0 0 0,0 0 0 0 0,0 0 0 0 0,0 0 0 0 0,0 0 0 0 0,0 0 1 0 0,0 0-1 0 0,0 0 0 0 0,0 0 0 0 0,0 0 0 0 0,0 0 0 0 0,0 0 0 0 0,0 0 0 0 0,1 0 0 0 0,-1 0 0 0 0,0 0 0 0 0,0 0 0 0 0,0 0 0 0 0,0 0 1 0 0,0 1-1 0 0,0-1 0 0 0,0 0 0 0 0,0 0 0 0 0,0 0 0 0 0,0 0 0 0 0,0 0 0 0 0,0 0 0 0 0,0 0 0 0 0,0 0 0 0 0,0 0 0 0 0,0 0 1 0 0,0 0-1 0 0,0 0 0 0 0,0 1 0 0 0,0-1 0 0 0,0 0 0 0 0,26-15-84 0 0,-22 13 65 0 0,319-210-60 0 0,55-32 152 0 0,-365 238-104 0 0,-15 11-32 0 0,-17 14 75 0 0,-86 65 131 0 0,23-20-140 0 0,-273 257 91 0 0,354-321-93 0 0,-4 5 1 0 0,-10 9 14 0 0,-25 29 1 0 0,69-58-192 0 0,182-127 123 0 0,240-149 47 0 0,-378 253 25 0 0,-73 38-20 0 0,0 1 0 0 0,0-1 0 0 0,0 0 0 0 0,0 0 0 0 0,0 0 0 0 0,0 0 0 0 0,0 0 0 0 0,0 0 0 0 0,0 0 0 0 0,0 0 0 0 0,0 0 0 0 0,0 0 0 0 0,0 1 0 0 0,0-1 0 0 0,0 0 0 0 0,0 0 0 0 0,0 0 0 0 0,0 0 0 0 0,0 0 0 0 0,0 0 0 0 0,0 0 0 0 0,0 0 0 0 0,0 0 0 0 0,0 1 0 0 0,0-1 0 0 0,0 0 0 0 0,0 0 0 0 0,0 0 0 0 0,0 0 0 0 0,1 0 0 0 0,-1 0 0 0 0,0 0 0 0 0,0 0 0 0 0,0 0 0 0 0,0 0 0 0 0,0 0 1 0 0,0 0-1 0 0,0 0 0 0 0,0 0 0 0 0,0 1 0 0 0,0-1 0 0 0,0 0 0 0 0,1 0 0 0 0,-1 0 0 0 0,0 0 0 0 0,0 0 0 0 0,0 0 0 0 0,0 0 0 0 0,0 0 0 0 0,0 0 0 0 0,0 0 0 0 0,0 0 0 0 0,0 0 0 0 0,1 0 0 0 0,-1 0 0 0 0,0 0 0 0 0,0 0 0 0 0,0 0 0 0 0,0-1 0 0 0,0 1 0 0 0,0 0 0 0 0,0 0 0 0 0,0 0 0 0 0,0 0 0 0 0,-5 9-7 0 0,-14 11 41 0 0,0 0 1 0 0,-44 31-1 0 0,11-9-21 0 0,-179 165 55 0 0,202-179-57 0 0,23-20-11 0 0,7-4-22 0 0,2-4 7 0 0,-1-1 0 0 0,1 0 0 0 0,0 0 0 0 0,-1 0 0 0 0,1 0 0 0 0,-1-1 0 0 0,5-2 0 0 0,170-104-88 0 0,-8 3 152 0 0,-154 96-53 0 0,1 1 1 0 0,0 0-1 0 0,32-11 0 0 0,-48 19 5 0 0,1 0-1 0 0,-1 1 1 0 0,1-1-1 0 0,-1 0 0 0 0,0 0 1 0 0,1 0-1 0 0,-1 1 1 0 0,0-1-1 0 0,0 0 1 0 0,1 0-1 0 0,-1 1 0 0 0,0-1 1 0 0,1 0-1 0 0,-1 1 1 0 0,0-1-1 0 0,0 0 0 0 0,0 1 1 0 0,1-1-1 0 0,-1 0 1 0 0,0 1-1 0 0,0-1 0 0 0,0 1 1 0 0,0-1-1 0 0,0 0 1 0 0,0 1-1 0 0,0-1 0 0 0,0 1 1 0 0,0-1-1 0 0,0 0 1 0 0,0 1-1 0 0,0-1 0 0 0,0 0 1 0 0,0 2-1 0 0,0 18 24 0 0,0-17-20 0 0,0 32-51 0 0,9-34 37 0 0,-10-13 129 0 0,0 10-122 0 0,-1-1 1 0 0,0 0-1 0 0,0 1 1 0 0,0-1 0 0 0,0 1-1 0 0,0 0 1 0 0,0-1 0 0 0,-1 1-1 0 0,-4-3 1 0 0,-10-9 141 0 0,23 18-161 0 0,-1 1 0 0 0,1-1 0 0 0,0 1 0 0 0,0-1 0 0 0,0-1 0 0 0,12 6 0 0 0,49 16 66 0 0,-54-20-51 0 0,57 17 369 0 0,1-3-1 0 0,94 13 0 0 0,151 2 310 0 0,-73-9-84 0 0,365 67-135 0 0,-532-75-291 0 0,145 52-1 0 0,60 55 170 0 0,-263-115-318 0 0,251 135 109 0 0,-234-122-111 0 0,-2 1 1 0 0,0 2-1 0 0,-2 1 0 0 0,0 2 1 0 0,36 42-1 0 0,-55-54-1 0 0,-1 0-1 0 0,-1 1 1 0 0,0 0-1 0 0,-1 1 1 0 0,8 20 0 0 0,-16-33-5 0 0,1-1 0 0 0,-1 0 1 0 0,0 1-1 0 0,0-1 1 0 0,-1 1-1 0 0,1 8 1 0 0,-15-12 15 0 0,11-2-1 0 0,-30-4-16 0 0,0-1 0 0 0,1-2 0 0 0,-40-16 0 0 0,18 6-95 0 0,-746-226-3506 0 0,-11 43 2094 0 0,782 195 1758 0 0,8 1 64 0 0,0 1 1 0 0,-42-2 0 0 0,63 6-316 0 0,0 0 1 0 0,0 0-1 0 0,0 0 1 0 0,0 0-1 0 0,0 0 0 0 0,0 0 1 0 0,0 1-1 0 0,0-1 1 0 0,0 0-1 0 0,0 0 1 0 0,1 0-1 0 0,-1 0 1 0 0,0 0-1 0 0,0 0 1 0 0,0 0-1 0 0,0 0 0 0 0,0 0 1 0 0,0 0-1 0 0,0 0 1 0 0,0 0-1 0 0,0 1 1 0 0,0-1-1 0 0,0 0 1 0 0,0 0-1 0 0,0 0 0 0 0,0 0 1 0 0,0 0-1 0 0,0 0 1 0 0,0 0-1 0 0,0 0 1 0 0,0 0-1 0 0,0 0 1 0 0,0 0-1 0 0,0 1 1 0 0,0-1-1 0 0,-1 0 0 0 0,1 0 1 0 0,0 0-1 0 0,0 0 1 0 0,0 0-1 0 0,0 0 1 0 0,0 0-1 0 0,0 0 1 0 0,0 0-1 0 0,0 0 1 0 0,0 0-1 0 0,0 0 0 0 0,0 0 1 0 0,0 0-1 0 0,0 0 1 0 0,0 0-1 0 0,0 0 1 0 0,-1 0-1 0 0,1 0 1 0 0,0 0-1 0 0,0 0 1 0 0,0 0-1 0 0,0 1 0 0 0,0-1 1 0 0,0 0-1 0 0,0-1 1 0 0,1 4-8 0 0,0-2 0 0 0,0 1 0 0 0,1 0 1 0 0,-1 0-1 0 0,0 0 0 0 0,1-1 0 0 0,0 1 0 0 0,-1 0 1 0 0,3 0-1 0 0,33 23 1 0 0,1-2 0 0 0,79 35 1 0 0,-89-45 8 0 0,642 252 1455 0 0,-643-254-1436 0 0,-8-4 13 0 0,-1 0 0 0 0,1-2 1 0 0,1 0-1 0 0,23 3 1 0 0,-43-8-32 0 0,0 0 1 0 0,1 0 0 0 0,-1 0 0 0 0,0 0-1 0 0,1 0 1 0 0,-1 0 0 0 0,0 0 0 0 0,1 0-1 0 0,-1 0 1 0 0,0 0 0 0 0,1 0 0 0 0,-1 0-1 0 0,0 0 1 0 0,1-1 0 0 0,-1 1 0 0 0,0 0 0 0 0,1 0-1 0 0,-1 0 1 0 0,0 0 0 0 0,0-1 0 0 0,1 1-1 0 0,-1 0 1 0 0,0 0 0 0 0,0-1 0 0 0,1 1-1 0 0,-1 0 1 0 0,0-1 0 0 0,0 1 0 0 0,0 0-1 0 0,0 0 1 0 0,1-1 0 0 0,-1 1 0 0 0,0 0-1 0 0,0-1 1 0 0,0 1 0 0 0,0 0 0 0 0,0-1 0 0 0,0 1-1 0 0,0 0 1 0 0,0-1 0 0 0,0 1 0 0 0,0 0-1 0 0,0-1 1 0 0,-4-17 344 0 0,2 14-320 0 0,0 0-1 0 0,0 0 1 0 0,0 1 0 0 0,-1-1 0 0 0,0 0 0 0 0,1 1 0 0 0,-1 0-1 0 0,-7-6 1 0 0,-31-22-3 0 0,36 28-24 0 0,-72-47-228 0 0,-102-47-1 0 0,-90-25-365 0 0,125 59 399 0 0,97 42 166 0 0,-129-66 138 0 0,155 72-51 0 0,21 15-60 0 0,0 0 0 0 0,-1 0-1 0 0,1 0 1 0 0,0-1 0 0 0,0 1 0 0 0,0 0 0 0 0,-1 0 0 0 0,1 0 0 0 0,0 0 0 0 0,0-1-1 0 0,0 1 1 0 0,0 0 0 0 0,0 0 0 0 0,-1 0 0 0 0,1-1 0 0 0,0 1 0 0 0,0 0 0 0 0,0 0-1 0 0,0-1 1 0 0,0 1 0 0 0,0 0 0 0 0,0 0 0 0 0,0-1 0 0 0,0 1 0 0 0,0 0-1 0 0,0 0 1 0 0,0 0 0 0 0,0-1 0 0 0,0 1 0 0 0,0 0 0 0 0,0-1 0 0 0,15 0-14 0 0,4 2-27 0 0,0 1-1 0 0,-1 1 1 0 0,34 10 0 0 0,59 26 5 0 0,-80-28 22 0 0,374 158 132 0 0,-6 20 283 0 0,-168-77-248 0 0,-214-106-126 0 0,-17-7-29 0 0,0 0 0 0 0,-1 0 1 0 0,0 1-1 0 0,1-1 0 0 0,-1 0 1 0 0,1 0-1 0 0,-1 0 0 0 0,0 0 1 0 0,0 1-1 0 0,1-1 0 0 0,-1 0 1 0 0,0 1-1 0 0,0-1 0 0 0,0 1 1 0 0,0-1-1 0 0,-1 0 0 0 0,-106-74-1096 0 0,-8-7-6 0 0,35 19 616 0 0,72 52 523 0 0,9 11-36 0 0,0 0 1 0 0,0-1-1 0 0,0 1 0 0 0,1 0 1 0 0,-1 0-1 0 0,0 0 1 0 0,0 0-1 0 0,0 0 0 0 0,0 0 1 0 0,0 0-1 0 0,1-1 1 0 0,-1 1-1 0 0,0 0 0 0 0,0 0 1 0 0,0 0-1 0 0,0 0 1 0 0,1 0-1 0 0,-1 0 0 0 0,0 0 1 0 0,0 0-1 0 0,0 0 1 0 0,0 0-1 0 0,1 0 0 0 0,-1 0 1 0 0,0 0-1 0 0,0 0 1 0 0,0 0-1 0 0,0 0 0 0 0,1 0 1 0 0,-1 0-1 0 0,0 0 1 0 0,0 0-1 0 0,0 1 0 0 0,0-1 1 0 0,0 0-1 0 0,1 0 1 0 0,-1 0-1 0 0,28 12 19 0 0,176 114 979 0 0,-145-85-755 0 0,367 259 783 0 0,-29 38-256 0 0,-172-82-829 0 0,-225-256 60 0 0,1 0 1 0 0,-1 1-1 0 0,0-1 1 0 0,0 0-1 0 0,0 1 1 0 0,0-1 0 0 0,1 0-1 0 0,-1 1 1 0 0,0-1-1 0 0,0 0 1 0 0,1 0-1 0 0,-1 1 1 0 0,0-1 0 0 0,1 0-1 0 0,-1 0 1 0 0,0 1-1 0 0,1-1 1 0 0,-1 0-1 0 0,0 0 1 0 0,1 0 0 0 0,-1 0-1 0 0,0 1 1 0 0,1-1-1 0 0,-1 0 1 0 0,1 0-1 0 0,-1 0 1 0 0,1 0 0 0 0,-6-13 53 0 0,-6-1-191 0 0,1 2 1 0 0,-2 0 0 0 0,0 0 0 0 0,-23-18 0 0 0,28 25 42 0 0,-292-218-3070 0 0,-14 17 3471 0 0,266 176 420 0 0,34 23-274 0 0,8 8-144 0 0,6 0-310 0 0,0 1 1 0 0,0 0 0 0 0,0 0-1 0 0,0 0 1 0 0,0-1-1 0 0,0 1 1 0 0,0-1 0 0 0,0 1-1 0 0,3 2 1 0 0,51 48 19 0 0,-16-16 70 0 0,65 71 262 0 0,-5 5-1 0 0,-4 4 1 0 0,139 226 0 0 0,-187-265-246 0 0,-45-75-89 0 0,-9-6 33 0 0,-360-191-1354 0 0,42 24 262 0 0,227 114 929 0 0,-108-84-1 0 0,182 124 221 0 0,1-2 0 0 0,2-1 0 0 0,-31-34 0 0 0,50 52-89 0 0,-1-1 1 0 0,1 0-1 0 0,0 0 0 0 0,0 0 0 0 0,0 0 0 0 0,0 0 1 0 0,0-1-1 0 0,1 1 0 0 0,0 0 0 0 0,-1-1 0 0 0,1 1 1 0 0,1-1-1 0 0,-1 0 0 0 0,0-3 0 0 0,1 6-18 0 0,0 1 0 0 0,0 0 0 0 0,0 0 0 0 0,0-1-1 0 0,0 1 1 0 0,0 0 0 0 0,0 0 0 0 0,0-1 0 0 0,0 1-1 0 0,0 0 1 0 0,0 0 0 0 0,0 0 0 0 0,0-1 0 0 0,0 1 0 0 0,1 0-1 0 0,-1 0 1 0 0,0-1 0 0 0,0 1 0 0 0,0 0 0 0 0,0 0-1 0 0,0 0 1 0 0,1 0 0 0 0,-1-1 0 0 0,0 1 0 0 0,0 0-1 0 0,0 0 1 0 0,1 0 0 0 0,-1 0 0 0 0,0 0 0 0 0,0 0 0 0 0,0-1-1 0 0,1 1 1 0 0,-1 0 0 0 0,0 0 0 0 0,0 0 0 0 0,1 0-1 0 0,-1 0 1 0 0,0 0 0 0 0,0 0 0 0 0,1 0 0 0 0,-1 0 0 0 0,0 0-1 0 0,0 0 1 0 0,1 0 0 0 0,-1 0 0 0 0,0 0 0 0 0,0 1-1 0 0,1-1 1 0 0,15 0 11 0 0,0 0-1 0 0,0 1 0 0 0,0 1 1 0 0,0 1-1 0 0,0 0 1 0 0,0 1-1 0 0,21 9 1 0 0,111 52 276 0 0,-141-62-268 0 0,127 67 467 0 0,-3 5-1 0 0,172 133 1 0 0,-223-144-490 0 0,-75-60 5 0 0,-3-2 1 0 0,0-1 0 0 0,0 1-1 0 0,0-1 1 0 0,0 1 0 0 0,0-1 0 0 0,0 0-1 0 0,1 0 1 0 0,-1 0 0 0 0,4 1-1 0 0,-5-5 49 0 0,-1-3-53 0 0,-1 1-1 0 0,0-1 1 0 0,0 0 0 0 0,0 1-1 0 0,0-1 1 0 0,-1 0 0 0 0,0 1-1 0 0,0 0 1 0 0,-1-1 0 0 0,1 1-1 0 0,-1 0 1 0 0,0 0 0 0 0,-6-6-1 0 0,-5-5-92 0 0,0 1 0 0 0,-24-20 0 0 0,14 14 50 0 0,-266-225-1483 0 0,34 31 266 0 0,167 132 1372 0 0,-82-100 1 0 0,166 177-61 0 0,-4-3 324 0 0,7 11-223 0 0,2 7-142 0 0,2-2 9 0 0,-1-1-1 0 0,1 1 1 0 0,1-1-1 0 0,-1 0 0 0 0,1 1 1 0 0,0-1-1 0 0,4 6 1 0 0,32 43 214 0 0,-22-34-177 0 0,270 328 596 0 0,-269-329-645 0 0,-18-20-5 0 0,0 1 0 0 0,0-1 1 0 0,1 1-1 0 0,-1-1 1 0 0,0 1-1 0 0,1-1 1 0 0,-1 0-1 0 0,0 1 1 0 0,1-1-1 0 0,-1 1 1 0 0,1-1-1 0 0,-1 0 1 0 0,1 0-1 0 0,-1 1 0 0 0,0-1 1 0 0,1 0-1 0 0,-1 0 1 0 0,1 1-1 0 0,-1-1 1 0 0,1 0-1 0 0,0 0 1 0 0,0-1 2 0 0,-1 1-1 0 0,0-1 1 0 0,0 0 0 0 0,0 0 0 0 0,0 1 0 0 0,0-1 0 0 0,0 0 0 0 0,0 0 0 0 0,0 1 0 0 0,0-1 0 0 0,0 0 0 0 0,-1 0 0 0 0,1 1 0 0 0,0-1 0 0 0,0 0 0 0 0,-1 1 0 0 0,1-1 0 0 0,0 0 0 0 0,-1 1-1 0 0,1-1 1 0 0,-1 0 0 0 0,0 0 0 0 0,-9-12-34 0 0,-1 2 0 0 0,-1-1 0 0 0,-18-14 0 0 0,8 7-26 0 0,-147-124-39 0 0,-183-177-95 0 0,349 314 228 0 0,15 13-20 0 0,233 161 424 0 0,-124-82-215 0 0,249 189 185 0 0,-280-200-282 0 0,155 170 1 0 0,-19 51-133 0 0,-24 17 49 0 0,-108-164 1 0 0,-53-86-4 0 0,69 83 0 0 0,-98-136-207 0 0,-12-10 146 0 0,0 0 0 0 0,0 0 0 0 0,1 0 0 0 0,-1 1 0 0 0,0-1 0 0 0,0 0 0 0 0,0 0 1 0 0,0 0-1 0 0,1 0 0 0 0,-1 0 0 0 0,0 0 0 0 0,0 0 0 0 0,0 0 0 0 0,0 0 1 0 0,1 0-1 0 0,-1 0 0 0 0,0 0 0 0 0,0 0 0 0 0,0-1 0 0 0,0 1 0 0 0,1 0 0 0 0,-1 0 1 0 0,0 0-1 0 0,0 0 0 0 0,0 0 0 0 0,0 0 0 0 0,2-2-169 0 0,-1-22-775 0 0,-1 20 1020 0 0,-1-4-152 0 0,0 0 1 0 0,0 0-1 0 0,-1 0 1 0 0,0 1-1 0 0,-1-1 1 0 0,1 1-1 0 0,-8-14 1 0 0,-33-47-319 0 0,21 35 228 0 0,-250-342-1426 0 0,264 366 1644 0 0,-43-57 610 0 0,44 60-212 0 0,3 8-125 0 0,3 15-54 0 0,2-9-288 0 0,-1 6 87 0 0,2-1 0 0 0,0 1 0 0 0,0-1 0 0 0,2 1 1 0 0,-1-1-1 0 0,10 22 0 0 0,43 78 158 0 0,-37-76-186 0 0,55 99 707 0 0,105 142 1 0 0,-172-268-722 0 0,-1-1-2 0 0,0 0 0 0 0,0-1 0 0 0,1 0 0 0 0,13 11 0 0 0,-20-19-10 0 0,0 1 0 0 0,0-1 1 0 0,0 0-1 0 0,0 0 0 0 0,0 0 0 0 0,0 0 1 0 0,0 1-1 0 0,1-1 0 0 0,-1 0 1 0 0,0 0-1 0 0,0 0 0 0 0,0 0 0 0 0,0 0 1 0 0,1 1-1 0 0,-1-1 0 0 0,0 0 0 0 0,0 0 1 0 0,0 0-1 0 0,0 0 0 0 0,1 0 1 0 0,-1 0-1 0 0,0 0 0 0 0,0 0 0 0 0,1 0 1 0 0,-1 0-1 0 0,0 0 0 0 0,0 0 1 0 0,0 0-1 0 0,1 0 0 0 0,-1 0 0 0 0,0 0 1 0 0,0 0-1 0 0,0 0 0 0 0,1 0 0 0 0,-1 0 1 0 0,0 0-1 0 0,0 0 0 0 0,0 0 1 0 0,1 0-1 0 0,-1-1 0 0 0,0 1 0 0 0,0 0 1 0 0,0 0-1 0 0,0 0 0 0 0,0 0 1 0 0,1 0-1 0 0,-1-1 0 0 0,0 1 0 0 0,0 0 1 0 0,0 0-1 0 0,0 0 0 0 0,0-1 0 0 0,2-14-123 0 0,-2 13 108 0 0,0-6-24 0 0,0-4 1 0 0,0 0 0 0 0,-1 1 0 0 0,0-1 0 0 0,-5-20 0 0 0,-4 3-103 0 0,-17-33 0 0 0,5 12-118 0 0,15 35 150 0 0,-63-174-623 0 0,63 150 770 0 0,6 28-23 0 0,1 11-14 0 0,0 0 1 0 0,0 0-1 0 0,0 0 0 0 0,0 0 1 0 0,1 0-1 0 0,-1 0 0 0 0,0-1 0 0 0,0 1 1 0 0,0 0-1 0 0,0 0 0 0 0,0 0 1 0 0,0 0-1 0 0,0 0 0 0 0,0 0 1 0 0,0 0-1 0 0,0 0 0 0 0,0 0 1 0 0,1-1-1 0 0,-1 1 0 0 0,0 0 1 0 0,0 0-1 0 0,0 0 0 0 0,0 0 0 0 0,0 0 1 0 0,0 0-1 0 0,0 0 0 0 0,1 0 1 0 0,-1 0-1 0 0,0 0 0 0 0,0 0 1 0 0,0 0-1 0 0,0 0 0 0 0,0 0 1 0 0,0 0-1 0 0,0 0 0 0 0,1 0 1 0 0,-1 0-1 0 0,0 0 0 0 0,0 0 0 0 0,0 0 1 0 0,0 0-1 0 0,0 0 0 0 0,0 0 1 0 0,1 0-1 0 0,-1 0 0 0 0,0 1 1 0 0,0-1-1 0 0,0 0 0 0 0,0 0 1 0 0,8 6 55 0 0,0 1 0 0 0,0 1-1 0 0,-1-1 1 0 0,0 1 0 0 0,0 0 0 0 0,7 13 0 0 0,2 0 126 0 0,200 289 867 0 0,-103-144-689 0 0,228 337 272 0 0,-337-496-633 0 0,1 0-1 0 0,1 0 1 0 0,-1 0 0 0 0,1-1-1 0 0,11 10 1 0 0,-10-14-112 0 0,-3-12-299 0 0,-3-4 208 0 0,-1 0 1 0 0,-1-1 0 0 0,0 1-1 0 0,-1 0 1 0 0,0-1-1 0 0,-1 1 1 0 0,-1 0 0 0 0,-8-22-1 0 0,-3 3-23 0 0,-1 1-1 0 0,-28-41 0 0 0,-188-251 741 0 0,232 329-461 0 0,0-1 10 0 0,0 10-1 0 0,-1-1 31 0 0,1 0 0 0 0,1 0 1 0 0,4 21-1 0 0,1-12 69 0 0,2 0 1 0 0,15 30-1 0 0,-4-10-69 0 0,-5-8-5 0 0,96 247 232 0 0,-96-237-198 0 0,-2 0-1 0 0,-3 1 1 0 0,-1 0-1 0 0,4 72 1 0 0,-12 43 327 0 0,-2-186-790 0 0,-1 1 0 0 0,-2 0 0 0 0,0 0 0 0 0,-13-33 0 0 0,0-3-29 0 0,-108-411-40 0 0,123 460 465 0 0,3 11-32 0 0,0 0-1 0 0,0 0 1 0 0,0-1 0 0 0,0 1 0 0 0,-1 0 0 0 0,1-1 0 0 0,-1 1 0 0 0,1 0 0 0 0,-1 0 0 0 0,1 0 0 0 0,-1 0 0 0 0,1-1 0 0 0,-1 1 0 0 0,0 0 0 0 0,0 0 0 0 0,-1-1 0 0 0,2 2-15 0 0,0 0 0 0 0,0 0 0 0 0,0 0 0 0 0,0 0 0 0 0,0 0 0 0 0,0 0-1 0 0,-1 0 1 0 0,1 0 0 0 0,0 0 0 0 0,0 0 0 0 0,0 0 0 0 0,0 0 0 0 0,0 0 0 0 0,0 0 0 0 0,-1 0 0 0 0,1 0 0 0 0,0 0 0 0 0,0 0 0 0 0,0 0 0 0 0,0 0 0 0 0,0 0 0 0 0,0 0-1 0 0,0 0 1 0 0,-1 0 0 0 0,1 0 0 0 0,0 0 0 0 0,0 0 0 0 0,0 0 0 0 0,0 0 0 0 0,0 0 0 0 0,0 0 0 0 0,0 0 0 0 0,0 0 0 0 0,-1 0 0 0 0,1 1 0 0 0,0-1 0 0 0,0 0 0 0 0,0 0-1 0 0,0 0 1 0 0,0 0 0 0 0,0 0 0 0 0,0 0 0 0 0,0 0 0 0 0,0 1 0 0 0,0-1 0 0 0,0 0 0 0 0,0 0 0 0 0,0 0 0 0 0,0 0 0 0 0,0 0 0 0 0,0 0 0 0 0,0 1 0 0 0,0-1 0 0 0,0 0-1 0 0,-43 137 994 0 0,40-123-991 0 0,-7 21 133 0 0,-42 147 398 0 0,38-141-420 0 0,-2 0-1 0 0,-27 48 0 0 0,42-104-132 0 0,3-5-41 0 0,0-1 1 0 0,2 1-1 0 0,0 0 0 0 0,2 0 1 0 0,10-27-1 0 0,0-3-160 0 0,9-31-42 0 0,-4-1 1 0 0,-3 0-1 0 0,6-89 1 0 0,-23 160 279 0 0,-2 14 159 0 0,-1 17 154 0 0,-6 3-185 0 0,0 0 0 0 0,-15 29-1 0 0,-7 15-110 0 0,-39 128 442 0 0,-9 21-260 0 0,-15-7-160 0 0,62-151-30 0 0,-45 65 0 0 0,70-117-4 0 0,4-7-39 0 0,5-16-107 0 0,-2 15 101 0 0,8-25-113 0 0,1 0-1 0 0,1 1 1 0 0,1 1 0 0 0,28-42 0 0 0,3-6 9 0 0,-8 5-435 0 0,42-111 0 0 0,-64 144 484 0 0,-3-1 0 0 0,-1 0 0 0 0,-1-1 0 0 0,-2 1 0 0 0,1-48-1 0 0,-6 57 86 0 0,0 12 3 0 0,-1 0-1 0 0,0 0 1 0 0,-4-27-1 0 0,3 40-12 0 0,1 0 0 0 0,-1 1 1 0 0,0-1-1 0 0,1 1 0 0 0,-1-1 0 0 0,0 1 0 0 0,0-1 0 0 0,0 1 0 0 0,0 0 0 0 0,0-1 0 0 0,0 1 0 0 0,0 0 0 0 0,0 0 0 0 0,-1 0 0 0 0,1 0 0 0 0,0 0 0 0 0,-1 0 0 0 0,1 0 0 0 0,-1 0 0 0 0,1 1 0 0 0,-1-1 0 0 0,1 0 0 0 0,-1 1 0 0 0,0 0 0 0 0,1-1 0 0 0,-1 1 0 0 0,0 0 0 0 0,1 0 0 0 0,-3 0 0 0 0,-1-1 51 0 0,0 2-1 0 0,0-1 0 0 0,0 0 1 0 0,0 1-1 0 0,0 0 0 0 0,0 0 1 0 0,1 1-1 0 0,-1 0 0 0 0,-6 2 1 0 0,-7 8 39 0 0,0 0 0 0 0,1 2-1 0 0,0 0 1 0 0,-26 29 0 0 0,-107 129 355 0 0,13 13-217 0 0,21-28-168 0 0,91-124-54 0 0,-22 29-13 0 0,-72 74 1 0 0,112-129 25 0 0,1-1 1 0 0,-1 0-1 0 0,-15 8 0 0 0,9-8 11 0 0,6-9 12 0 0,6 0-37 0 0,0 1 1 0 0,0 0-1 0 0,1 0 0 0 0,-1-1 1 0 0,1 1-1 0 0,0 0 1 0 0,0-1-1 0 0,0 1 0 0 0,0-4 1 0 0,1-8-30 0 0,0-1 0 0 0,1 1 0 0 0,0 0 0 0 0,1-1 0 0 0,1 1 0 0 0,6-15 0 0 0,42-85-136 0 0,-38 85 153 0 0,116-207-267 0 0,31-66-15 0 0,-150 269 277 0 0,-11 33 9 0 0,0 0 0 0 0,1-1 0 0 0,-1 1-1 0 0,0 0 1 0 0,0-1 0 0 0,0 1 0 0 0,0 0 0 0 0,0-1 0 0 0,1 1-1 0 0,-1 0 1 0 0,0-1 0 0 0,0 1 0 0 0,0 0 0 0 0,0-1 0 0 0,0 1-1 0 0,0-1 1 0 0,0 1 0 0 0,0 0 0 0 0,0-1 0 0 0,0 1 0 0 0,-1 0 0 0 0,1-1-1 0 0,0 1 1 0 0,0-1 0 0 0,0 1 0 0 0,0 0 0 0 0,0-1 0 0 0,-1 1-1 0 0,1 0 1 0 0,0 0 0 0 0,0-1 0 0 0,-1 1 0 0 0,1 0 0 0 0,0-1-1 0 0,0 1 1 0 0,-1 0 0 0 0,1-1 0 0 0,-3 2 5 0 0,0 0 0 0 0,1 1 0 0 0,-1-1 0 0 0,1 0 0 0 0,-1 1 0 0 0,1-1 0 0 0,0 1-1 0 0,-3 2 1 0 0,-170 145 134 0 0,7 20 79 0 0,64-63-47 0 0,90-93-149 0 0,-263 258 216 0 0,-16-22-183 0 0,285-244-56 0 0,-3 5 5 0 0,-1-1 0 0 0,-1-1-1 0 0,0 0 1 0 0,0 0 0 0 0,-26 9 0 0 0,38-16-10 0 0,0-1 0 0 0,-1 1 0 0 0,1-1 0 0 0,-1 1 0 0 0,0-1 0 0 0,1 0 0 0 0,-1 0 0 0 0,1 0 0 0 0,-1 0-1 0 0,1 0 1 0 0,-1 0 0 0 0,1 0 0 0 0,-1 0 0 0 0,1-1 0 0 0,-3 0 0 0 0,3 0-12 0 0,0 0 0 0 0,0 0-1 0 0,0 0 1 0 0,0 0 0 0 0,0 0 0 0 0,0 0-1 0 0,0 0 1 0 0,1 0 0 0 0,-1 0 0 0 0,1-1 0 0 0,-1 1-1 0 0,1 0 1 0 0,-1 0 0 0 0,1-1 0 0 0,0 1-1 0 0,-1 0 1 0 0,1-1 0 0 0,0 1 0 0 0,0 0-1 0 0,0-3 1 0 0,0-10-61 0 0,0 1-1 0 0,1-1 0 0 0,0 0 1 0 0,1 0-1 0 0,1 0 0 0 0,0 1 1 0 0,1-1-1 0 0,0 1 1 0 0,1 0-1 0 0,8-14 0 0 0,6-10 78 0 0,3 1-1 0 0,31-42 1 0 0,118-123 39 0 0,17 12 8 0 0,-139 141-8 0 0,127-118 18 0 0,-180 172-124 0 0,3-4 64 0 0,0 0 1 0 0,0 0 0 0 0,-1 1-1 0 0,1-1 1 0 0,-1 0-1 0 0,0 0 1 0 0,-2 2-1 0 0,-41 33 65 0 0,-2-1 0 0 0,-51 29-1 0 0,28-20-71 0 0,58-37 18 0 0,-375 259 550 0 0,24 31-14 0 0,332-267-528 0 0,16-16 0 0 0,0-1 1 0 0,-1 0 0 0 0,-19 13 0 0 0,35-27-19 0 0,0-1 1 0 0,0 1-1 0 0,0 0 1 0 0,0 0 0 0 0,0 0-1 0 0,0 0 1 0 0,0 0-1 0 0,0 0 1 0 0,0-1 0 0 0,0 1-1 0 0,0 0 1 0 0,0 0-1 0 0,0 0 1 0 0,0 0 0 0 0,0 0-1 0 0,0-1 1 0 0,0 1-1 0 0,0 0 1 0 0,0 0 0 0 0,0 0-1 0 0,0 0 1 0 0,0 0-1 0 0,0-1 1 0 0,0 1-1 0 0,0 0 1 0 0,0 0 0 0 0,0 0-1 0 0,0 0 1 0 0,-1 0-1 0 0,1 0 1 0 0,0 0 0 0 0,0-1-1 0 0,0 1 1 0 0,0 0-1 0 0,0 0 1 0 0,0 0 0 0 0,0 0-1 0 0,0 0 1 0 0,-1 0-1 0 0,1 0 1 0 0,0 0 0 0 0,0 0-1 0 0,0 0 1 0 0,0 0-1 0 0,0 0 1 0 0,-1 0 0 0 0,1 0-1 0 0,0 0 1 0 0,0 0-1 0 0,0 0 1 0 0,0 0 0 0 0,0 0-1 0 0,0 0 1 0 0,-1 0-1 0 0,1 0 1 0 0,0 0 0 0 0,0 0-1 0 0,0 0 1 0 0,0 0-1 0 0,0 0 1 0 0,-1 0 0 0 0,1 0-1 0 0,0 0 1 0 0,0 0-1 0 0,0 0 1 0 0,0 0 0 0 0,0 0-1 0 0,0 0 1 0 0,-1 1-1 0 0,1-11-125 0 0,0 0-1 0 0,1 0 1 0 0,0 1-1 0 0,0-1 0 0 0,1 1 1 0 0,0-1-1 0 0,1 1 0 0 0,0-1 1 0 0,1 1-1 0 0,4-9 1 0 0,10-16-28 0 0,28-41 0 0 0,-29 49 124 0 0,56-83 84 0 0,6 4 0 0 0,3 3 0 0 0,137-130 0 0 0,-206 219-42 0 0,19-20 18 0 0,-31 31-60 0 0,-5 3-16 0 0,-5 1 45 0 0,1 0-1 0 0,-1 1 1 0 0,0 1 0 0 0,1-1 0 0 0,-13 9 0 0 0,-5 1 27 0 0,-266 144 224 0 0,13 25 555 0 0,156-86-672 0 0,-81 57-118 0 0,191-145-145 0 0,0 0 0 0 0,0-1 0 0 0,-1 0 0 0 0,1-1 0 0 0,-1 0 0 0 0,-1-2 0 0 0,-17 5 0 0 0,28-8 106 0 0,-1-1 1 0 0,1 1-1 0 0,0-1 0 0 0,-1 0 1 0 0,1 0-1 0 0,-7-1 0 0 0,10 1 32 0 0,-1-1-1 0 0,1 1 1 0 0,0 0-1 0 0,0-1 1 0 0,-1 0-1 0 0,1 1 1 0 0,0-1-1 0 0,0 0 1 0 0,0 0-1 0 0,0 1 1 0 0,0-1-1 0 0,0 0 0 0 0,0 0 1 0 0,0 0-1 0 0,0 0 1 0 0,0 0-1 0 0,0 0 1 0 0,1-1-1 0 0,-1 1 1 0 0,0 0-1 0 0,1 0 1 0 0,-1-1-1 0 0,1 1 1 0 0,0 0-1 0 0,-1-2 0 0 0,-1-7-51 0 0,1 0-1 0 0,0 0 1 0 0,1 0-1 0 0,0 0 1 0 0,0 0-1 0 0,1 0 1 0 0,1 0-1 0 0,-1 0 1 0 0,2 0-1 0 0,-1 0 0 0 0,1 1 1 0 0,1-1-1 0 0,0 1 1 0 0,9-16-1 0 0,5-6 10 0 0,2 1-1 0 0,44-53 0 0 0,-11 23 57 0 0,4 2 0 0 0,2 2-1 0 0,2 4 1 0 0,74-50 0 0 0,-238 177 117 0 0,-253 177 799 0 0,19 28 67 0 0,247-195-968 0 0,84-80-45 0 0,5-3-1 0 0,0-1 0 0 0,0 0-1 0 0,0 0 1 0 0,-1 0-1 0 0,1 0 1 0 0,0 0 0 0 0,0 0-1 0 0,-1 0 1 0 0,1 0-1 0 0,0 0 1 0 0,-1-1 0 0 0,1 1-1 0 0,-1 0 1 0 0,1-1 0 0 0,-1 1-1 0 0,1-1 1 0 0,-1 0-1 0 0,1 1 1 0 0,-3-1 0 0 0,4 0 2 0 0,0-1 1 0 0,0 1-1 0 0,0 0 0 0 0,-1 0 1 0 0,1 0-1 0 0,0-1 1 0 0,0 1-1 0 0,0 0 1 0 0,0 0-1 0 0,-1 0 1 0 0,1-1-1 0 0,0 1 1 0 0,0 0-1 0 0,0 0 0 0 0,0-1 1 0 0,0 1-1 0 0,0 0 1 0 0,0 0-1 0 0,0-1 1 0 0,0 1-1 0 0,0 0 1 0 0,0-1-1 0 0,0 1 1 0 0,0 0-1 0 0,0 0 1 0 0,0-1-1 0 0,0 1 0 0 0,0 0 1 0 0,0 0-1 0 0,0-1 1 0 0,0 1-1 0 0,1 0 1 0 0,-1-13-137 0 0,2 1 0 0 0,-1-1-1 0 0,2 1 1 0 0,0 0 0 0 0,0 0 0 0 0,1 0 0 0 0,0 1 0 0 0,10-19 0 0 0,8-9 32 0 0,32-43 1 0 0,5 3 119 0 0,5 2 0 0 0,77-73 0 0 0,-84 100-25 0 0,-42 37-363 0 0,-54 39 180 0 0,-145 92 138 0 0,-97 67 1385 0 0,220-140-932 0 0,2 3-1 0 0,-76 79 1 0 0,49-27-328 0 0,30-33-61 0 0,49-59-6 0 0,5-6-10 0 0,1 1 1 0 0,-1-1-1 0 0,0 0 1 0 0,0 1 0 0 0,0-1-1 0 0,-1 0 1 0 0,1-1 0 0 0,-1 1-1 0 0,1 0 1 0 0,-1-1-1 0 0,1 1 1 0 0,-1-1 0 0 0,0 0-1 0 0,-3 2 1 0 0,6-3 5 0 0,0 0 0 0 0,-1 0 0 0 0,1 0 0 0 0,0 0 0 0 0,0 0 0 0 0,-1 0-1 0 0,1 0 1 0 0,0 0 0 0 0,-1 0 0 0 0,1 0 0 0 0,0 0 0 0 0,-1 0 0 0 0,1 0 0 0 0,0 0 0 0 0,0 0 0 0 0,-1 0 0 0 0,1 0 0 0 0,0 0 0 0 0,0 0 0 0 0,-1 0 0 0 0,1-1 0 0 0,0 1 0 0 0,0 0 0 0 0,-1 0 0 0 0,1 0 0 0 0,0 0-1 0 0,0-1 1 0 0,-1 1 0 0 0,1 0 0 0 0,0 0 0 0 0,0 0 0 0 0,0-1 0 0 0,0 1 0 0 0,-1 0 0 0 0,1 0 0 0 0,0-1 0 0 0,0 1 0 0 0,0 0 0 0 0,0-1 0 0 0,0 1 0 0 0,0 0 0 0 0,0-1 0 0 0,-2-10-279 0 0,1 0 0 0 0,1 0 0 0 0,0-15 0 0 0,1-1-49 0 0,0 7 251 0 0,1 0 1 0 0,0-1-1 0 0,2 1 1 0 0,0 0 0 0 0,15-38-1 0 0,49-94 120 0 0,-50 116-70 0 0,6-8 13 0 0,-17 33 23 0 0,-1 0 0 0 0,0 0 0 0 0,0-1 0 0 0,4-17-1 0 0,-9 29 2 0 0,-1 0-1 0 0,0-1 0 0 0,0 1 0 0 0,1 0 1 0 0,-1-1-1 0 0,0 1 0 0 0,0 0 0 0 0,0-1 1 0 0,0 1-1 0 0,0 0 0 0 0,0-1 0 0 0,0 1 1 0 0,1 0-1 0 0,-1-1 0 0 0,0 1 0 0 0,0 0 1 0 0,0-1-1 0 0,0 1 0 0 0,0-1 0 0 0,-1 1 1 0 0,1 0-1 0 0,0-1 0 0 0,0 1 0 0 0,0 0 1 0 0,0-1-1 0 0,0 1 0 0 0,0 0 0 0 0,-1-1 1 0 0,1 1-1 0 0,0 0 0 0 0,0 0 0 0 0,0-1 1 0 0,-1 1-1 0 0,1 0 0 0 0,0-1 0 0 0,0 1 1 0 0,-1 0-1 0 0,1 0 0 0 0,0 0 0 0 0,-1-1 1 0 0,1 1-1 0 0,0 0 0 0 0,-1 0 0 0 0,1 0 1 0 0,0 0-1 0 0,-1 0 0 0 0,1-1 0 0 0,-22 8 8 0 0,-16 13 19 0 0,1 1-1 0 0,-38 30 1 0 0,43-29 12 0 0,-179 143 870 0 0,14 18-232 0 0,194-180-677 0 0,-2 2 23 0 0,-1 0-1 0 0,1 0 0 0 0,-1 0 0 0 0,-8 4 0 0 0,14-8-24 0 0,-1-1 0 0 0,0 1 0 0 0,0-1 0 0 0,1 0 0 0 0,-1 1 0 0 0,0-1 0 0 0,0 1 0 0 0,1-1 0 0 0,-1 0 0 0 0,0 0 0 0 0,0 1 0 0 0,0-1 0 0 0,0 0 0 0 0,0 0 0 0 0,1 0 0 0 0,-1 0 0 0 0,0 0 0 0 0,0 0 0 0 0,0 0 0 0 0,0 0-1 0 0,0-1 1 0 0,1 1 0 0 0,-1 0 0 0 0,0 0 0 0 0,0-1 0 0 0,0 1 0 0 0,1-1 0 0 0,-1 1 0 0 0,0-1 0 0 0,0 1 0 0 0,1-1 0 0 0,-1 1 0 0 0,0-1 0 0 0,1 1 0 0 0,-1-1 0 0 0,1 0 0 0 0,-1 1 0 0 0,1-1 0 0 0,-1 0 0 0 0,1 0 0 0 0,-1 1 0 0 0,1-1 0 0 0,0 0 0 0 0,-1 0 0 0 0,1-1 0 0 0,-5-14-224 0 0,2 1 1 0 0,0-1 0 0 0,-2-31-1 0 0,3-56-168 0 0,2 71 394 0 0,0-10-22 0 0,2-80-57 0 0,-1 98 79 0 0,2 1 1 0 0,1 0 0 0 0,7-26 0 0 0,-2 23-11 0 0,-6 19 10 0 0,-1 0-1 0 0,1-1 0 0 0,-1 1 0 0 0,-1 0 0 0 0,2-16 0 0 0,-16 36-3 0 0,-211 189 307 0 0,-88 120 1034 0 0,305-313-1324 0 0,-15 16-44 0 0,21-24 37 0 0,0-1 1 0 0,1 1-1 0 0,-1 0 0 0 0,0 0 0 0 0,0-1 1 0 0,0 1-1 0 0,0 0 0 0 0,0-1 1 0 0,0 1-1 0 0,0-1 0 0 0,0 1 0 0 0,0-1 1 0 0,0 0-1 0 0,0 1 0 0 0,0-1 1 0 0,0 0-1 0 0,0 0 0 0 0,0 0 0 0 0,0 0 1 0 0,-1 0-1 0 0,1 0 0 0 0,-1 0 1 0 0,1 0-5 0 0,1-1 1 0 0,-1 1-1 0 0,1 0 0 0 0,-1-1 1 0 0,0 1-1 0 0,1 0 1 0 0,-1-1-1 0 0,1 1 1 0 0,-1-1-1 0 0,1 1 1 0 0,-1-1-1 0 0,1 0 1 0 0,0 1-1 0 0,-1-1 1 0 0,1 1-1 0 0,0-1 1 0 0,-1 0-1 0 0,1 1 0 0 0,0-2 1 0 0,-4-11-107 0 0,2-1-1 0 0,0 1 1 0 0,0-1 0 0 0,1 0-1 0 0,1 1 1 0 0,2-22 0 0 0,-1-8-65 0 0,-1 42 168 0 0,4-130-133 0 0,-2 107 131 0 0,1-1-1 0 0,2 1 1 0 0,9-32-1 0 0,75-174 96 0 0,-81 213-114 0 0,-1 1 0 0 0,6-22-1 0 0,-13 38 19 0 0,0 0 0 0 0,0 0 0 0 0,0 0-1 0 0,0 0 1 0 0,0-1 0 0 0,0 1 0 0 0,0 0-1 0 0,0 0 1 0 0,0 0 0 0 0,0 0-1 0 0,0 0 1 0 0,1 0 0 0 0,-1 0 0 0 0,0-1-1 0 0,0 1 1 0 0,0 0 0 0 0,0 0 0 0 0,0 0-1 0 0,0 0 1 0 0,0 0 0 0 0,0 0-1 0 0,0-1 1 0 0,0 1 0 0 0,0 0 0 0 0,0 0-1 0 0,0 0 1 0 0,0 0 0 0 0,0 0 0 0 0,0 0-1 0 0,0-1 1 0 0,-1 1 0 0 0,1 0-1 0 0,0 0 1 0 0,0 0 0 0 0,0 0 0 0 0,0 0-1 0 0,0 0 1 0 0,0 0 0 0 0,0-1 0 0 0,0 1-1 0 0,0 0 1 0 0,0 0 0 0 0,-1 0-1 0 0,1 0 1 0 0,0 0 0 0 0,0 0 0 0 0,0 0-1 0 0,0 0 1 0 0,0 0 0 0 0,0 0 0 0 0,0 0-1 0 0,-1 0 1 0 0,-7 5-74 0 0,5-3 53 0 0,-222 188 112 0 0,180-148 433 0 0,-66 80 0 0 0,92-98-445 0 0,1 2-1 0 0,1 0 1 0 0,1 1 0 0 0,2 1 0 0 0,-14 35-1 0 0,27-83-534 0 0,7-312-596 0 0,-4 308 873 0 0,-1 12-27 0 0,-1 1 0 0 0,0-1-1 0 0,0 0 1 0 0,-3-13 0 0 0,3 24 205 0 0,-1 0 1 0 0,1 1-1 0 0,0-1 0 0 0,-1 0 1 0 0,1 0-1 0 0,-1 1 0 0 0,1-1 1 0 0,-1 0-1 0 0,1 1 1 0 0,-1-1-1 0 0,0 0 0 0 0,1 1 1 0 0,-1-1-1 0 0,0 1 1 0 0,0-1-1 0 0,1 1 0 0 0,-1 0 1 0 0,0-1-1 0 0,0 1 1 0 0,1 0-1 0 0,-1-1 0 0 0,0 1 1 0 0,0 0-1 0 0,0 0 0 0 0,0 0 1 0 0,1 0-1 0 0,-1-1 1 0 0,-1 2-1 0 0,-28 0-10 0 0,26 0 16 0 0,-3 0 14 0 0,1 1 0 0 0,-1 0 0 0 0,0 1 0 0 0,1-1 0 0 0,-1 1 0 0 0,1 0 0 0 0,0 1 0 0 0,0 0 1 0 0,0 0-1 0 0,-5 5 0 0 0,-11 9 93 0 0,-20 24 1 0 0,40-40-105 0 0,-51 59 467 0 0,-86 128 0 0 0,135-183-457 0 0,2-2 14 0 0,-1 0 0 0 0,0 0 1 0 0,0 0-1 0 0,0-1 0 0 0,0 1 1 0 0,0-1-1 0 0,-1 0 0 0 0,-6 5 0 0 0,7-8 57 0 0,2-6-82 0 0,1-8-81 0 0,-1 1 0 0 0,-1-1 1 0 0,0 1-1 0 0,-7-22 0 0 0,6 26 43 0 0,0 0 0 0 0,0 0 1 0 0,-1 1-1 0 0,0 0 0 0 0,-1-1 0 0 0,0 1 0 0 0,-11-13 0 0 0,14 19 33 0 0,0 0-1 0 0,0 1 0 0 0,0-1 0 0 0,0 0 0 0 0,0 1 1 0 0,0 0-1 0 0,0-1 0 0 0,-1 1 0 0 0,1 0 0 0 0,-1 0 1 0 0,1 0-1 0 0,-1 0 0 0 0,1 1 0 0 0,-1-1 0 0 0,1 1 1 0 0,-1-1-1 0 0,1 1 0 0 0,-1 0 0 0 0,0 0 0 0 0,1 0 1 0 0,-1 0-1 0 0,-4 2 0 0 0,2-1 11 0 0,0 1 0 0 0,0-1 1 0 0,0 1-1 0 0,0 1 0 0 0,1-1 0 0 0,-1 1 1 0 0,1-1-1 0 0,0 1 0 0 0,-1 1 0 0 0,-4 4 0 0 0,-5 7 45 0 0,1 1 0 0 0,1 0 1 0 0,0 1-1 0 0,1 0 0 0 0,1 1 0 0 0,0 0 0 0 0,2 1 0 0 0,0 0 0 0 0,1 0 0 0 0,1 1 0 0 0,-4 20 0 0 0,9-27-34 0 0,1-13-18 0 0,0 0-1 0 0,0 0 0 0 0,0 1 0 0 0,0-1 0 0 0,0 0 0 0 0,0 0 0 0 0,0 0 0 0 0,0 0 0 0 0,0 0 1 0 0,0 1-1 0 0,0-1 0 0 0,0 0 0 0 0,0 0 0 0 0,0 0 0 0 0,0 0 0 0 0,0 0 0 0 0,0 1 0 0 0,0-1 1 0 0,0 0-1 0 0,0 0 0 0 0,0 0 0 0 0,0 0 0 0 0,0 0 0 0 0,1 0 0 0 0,-1 1 0 0 0,0-1 0 0 0,0 0 1 0 0,0 0-1 0 0,0 0 0 0 0,0 0 0 0 0,0 0 0 0 0,0 0 0 0 0,1 0 0 0 0,-1 0 0 0 0,0 0 0 0 0,0 0 1 0 0,0 1-1 0 0,0-1 0 0 0,0 0 0 0 0,0 0 0 0 0,1 0 0 0 0,-1 0 0 0 0,0 0 0 0 0,0 0 0 0 0,0 0 1 0 0,0 0-1 0 0,0 0 0 0 0,1 0 0 0 0,-1 0 0 0 0,0 0 0 0 0,6-2-7 0 0,-1 0 1 0 0,0 0-1 0 0,1-1 1 0 0,-1 1-1 0 0,0-1 0 0 0,0 0 1 0 0,0 0-1 0 0,-1-1 1 0 0,1 1-1 0 0,4-6 0 0 0,-8 8 9 0 0,180-180 266 0 0,-127 122-315 0 0,94-80 0 0 0,-145 137 24 0 0,15-11-172 0 0,-18 13 190 0 0,0 0-1 0 0,1 0 1 0 0,-1-1 0 0 0,0 1-1 0 0,0 0 1 0 0,1 0-1 0 0,-1 0 1 0 0,0 0-1 0 0,1 0 1 0 0,-1 0 0 0 0,0 0-1 0 0,1 0 1 0 0,-1-1-1 0 0,0 1 1 0 0,1 0-1 0 0,-1 0 1 0 0,0 1 0 0 0,1-1-1 0 0,-1 0 1 0 0,0 0-1 0 0,0 0 1 0 0,1 0 0 0 0,-1 0-1 0 0,0 0 1 0 0,1 0-1 0 0,-1 0 1 0 0,0 0-1 0 0,0 1 1 0 0,1-1 0 0 0,-1 0-1 0 0,0 0 1 0 0,1 0-1 0 0,-1 1 1 0 0,0-1-1 0 0,0 0 1 0 0,0 0 0 0 0,1 1-1 0 0,-1-1 1 0 0,0 0-1 0 0,0 0 1 0 0,0 1 0 0 0,0-1-1 0 0,0 0 1 0 0,1 1-1 0 0,-1-1 1 0 0,0 0-1 0 0,0 1 1 0 0,0-1 0 0 0,0 0-1 0 0,0 0 1 0 0,0 1-1 0 0,0-1 1 0 0,0 0-1 0 0,0 1 1 0 0,0-1 0 0 0,0 0-1 0 0,-1 1 1 0 0,0 47 181 0 0,-13 89-1 0 0,5-92-183 0 0,1-1 61 0 0,1 0 0 0 0,-1 49 0 0 0,8-93-52 0 0,0 1 1 0 0,0-1-1 0 0,0 0 0 0 0,0 0 1 0 0,0 0-1 0 0,0 0 0 0 0,0 0 0 0 0,0 0 1 0 0,0 0-1 0 0,0 1 0 0 0,0-1 1 0 0,0 0-1 0 0,0 0 0 0 0,0 0 0 0 0,0 0 1 0 0,1 0-1 0 0,-1 0 0 0 0,0 0 1 0 0,0 0-1 0 0,0 1 0 0 0,0-1 0 0 0,0 0 1 0 0,0 0-1 0 0,0 0 0 0 0,0 0 1 0 0,0 0-1 0 0,0 0 0 0 0,1 0 0 0 0,-1 0 1 0 0,0 0-1 0 0,0 0 0 0 0,0 0 1 0 0,0 0-1 0 0,0 0 0 0 0,0 0 1 0 0,0 0-1 0 0,1 0 0 0 0,-1 0 0 0 0,0 0 1 0 0,0 0-1 0 0,0 0 0 0 0,0 0 1 0 0,0 0-1 0 0,0 0 0 0 0,1 0 0 0 0,-1 0 1 0 0,0 0-1 0 0,0 0 0 0 0,0 0 1 0 0,0 0-1 0 0,0 0 0 0 0,0 0 0 0 0,0 0 1 0 0,1 0-1 0 0,1 0-13 0 0,1-1 1 0 0,-1 1-1 0 0,0 0 0 0 0,1-1 1 0 0,-1 0-1 0 0,0 1 0 0 0,1-1 1 0 0,-1 0-1 0 0,0 0 0 0 0,0 0 1 0 0,0 0-1 0 0,4-3 0 0 0,25-25-100 0 0,-31 28 111 0 0,187-209 85 0 0,43-44 45 0 0,-219 243-199 0 0,1 1-1 0 0,20-15 1 0 0,-31 25 66 0 0,-1 0-1 0 0,0 0 0 0 0,0 0 1 0 0,0 0-1 0 0,0 0 1 0 0,0 0-1 0 0,1 0 0 0 0,-1 0 1 0 0,0 0-1 0 0,0 0 1 0 0,0 1-1 0 0,0-1 0 0 0,0 0 1 0 0,1 0-1 0 0,-1 0 1 0 0,0 0-1 0 0,0 0 0 0 0,0 0 1 0 0,0 0-1 0 0,0 1 0 0 0,0-1 1 0 0,0 0-1 0 0,0 0 1 0 0,1 0-1 0 0,-1 0 0 0 0,0 0 1 0 0,0 1-1 0 0,0-1 1 0 0,0 0-1 0 0,0 0 0 0 0,0 0 1 0 0,0 0-1 0 0,0 1 1 0 0,0-1-1 0 0,0 0 0 0 0,0 0 1 0 0,0 0-1 0 0,0 0 1 0 0,0 1-1 0 0,0-1 0 0 0,0 0 1 0 0,0 0-1 0 0,0 0 0 0 0,-1 0 1 0 0,1 0-1 0 0,0 1 1 0 0,0-1-1 0 0,0 0 0 0 0,0 0 1 0 0,-2 12-38 0 0,-3 0 66 0 0,-1 0-1 0 0,0 0 0 0 0,-1-1 0 0 0,0 0 0 0 0,0 0 1 0 0,-2 0-1 0 0,-17 17 0 0 0,-7 9 41 0 0,-94 141 227 0 0,103-138-212 0 0,1 1-1 0 0,-27 73 0 0 0,42-88-50 0 0,8-20-52 0 0,4-7-54 0 0,9-10-100 0 0,24-27 0 0 0,-8 7 145 0 0,42-41 70 0 0,171-168 62 0 0,-169 175-25 0 0,118-83 0 0 0,-184 143-72 0 0,1-1-7 0 0,0 0-1 0 0,1 1 0 0 0,0 0 1 0 0,0 0-1 0 0,0 1 0 0 0,16-5 1 0 0,-24 9 5 0 0,-1 0-1 0 0,1-1 1 0 0,0 1 0 0 0,-1 0 0 0 0,1 0 0 0 0,-1 0 0 0 0,1 0-1 0 0,0 0 1 0 0,-1 0 0 0 0,1 0 0 0 0,-1 0 0 0 0,1 0 0 0 0,0 0-1 0 0,-1 0 1 0 0,1 0 0 0 0,-1 1 0 0 0,1-1 0 0 0,0 0-1 0 0,-1 0 1 0 0,1 0 0 0 0,-1 1 0 0 0,1-1 0 0 0,-1 0 0 0 0,1 1-1 0 0,-1-1 1 0 0,1 1 0 0 0,-1-1 0 0 0,0 0 0 0 0,1 1 0 0 0,-1-1-1 0 0,1 1 1 0 0,-1-1 0 0 0,0 1 0 0 0,1-1 0 0 0,-1 1 0 0 0,0 0-1 0 0,0-1 1 0 0,0 1 0 0 0,1-1 0 0 0,-1 2 0 0 0,0 2 14 0 0,1 0 0 0 0,-1 0 0 0 0,0 0 0 0 0,0 1 0 0 0,-2 4 0 0 0,1 0 55 0 0,0 1-14 0 0,-1 1-1 0 0,0 0 0 0 0,-1-1 0 0 0,0 1 1 0 0,-1-1-1 0 0,-8 16 0 0 0,-37 59 13 0 0,15-30-40 0 0,0 7 57 0 0,2 2 1 0 0,-30 88-1 0 0,60-145-83 0 0,0-2 1 0 0,0 0 0 0 0,1 0 0 0 0,0-1 0 0 0,0 1 0 0 0,-1 8 0 0 0,3-11-20 0 0,2-6-32 0 0,134-167-177 0 0,-71 94 264 0 0,-48 55-41 0 0,130-151 49 0 0,-110 134-28 0 0,1 1 1 0 0,50-38-1 0 0,-85 74-22 0 0,0-1-1 0 0,0 0 0 0 0,0 1 1 0 0,0-1-1 0 0,0 1 0 0 0,0 0 1 0 0,1 1-1 0 0,-1-1 0 0 0,1 1 1 0 0,-1 0-1 0 0,10-2 0 0 0,-14 3 5 0 0,0 0 0 0 0,1 0-1 0 0,-1 0 1 0 0,0 0 0 0 0,0 0 0 0 0,1 0-1 0 0,-1 0 1 0 0,0 0 0 0 0,1 0-1 0 0,-1 0 1 0 0,0 0 0 0 0,0 0 0 0 0,1 0-1 0 0,-1 0 1 0 0,0 0 0 0 0,0 0-1 0 0,1 0 1 0 0,-1 0 0 0 0,0 0 0 0 0,1 0-1 0 0,-1 1 1 0 0,0-1 0 0 0,0 0-1 0 0,0 0 1 0 0,1 0 0 0 0,-1 0 0 0 0,0 1-1 0 0,0-1 1 0 0,0 0 0 0 0,1 0-1 0 0,-1 0 1 0 0,0 1 0 0 0,0-1 0 0 0,0 0-1 0 0,0 0 1 0 0,0 1 0 0 0,1-1-1 0 0,-1 0 1 0 0,0 0 0 0 0,0 1 0 0 0,0-1-1 0 0,1 11 1 0 0,0 0-1 0 0,-1 21 0 0 0,-1-7 62 0 0,-9 423 317 0 0,10-251-376 0 0,0-195 1 0 0,0 0 0 0 0,0 0 0 0 0,0 1 0 0 0,0-1 0 0 0,0 0-1 0 0,1 1 1 0 0,-1-1 0 0 0,1 0 0 0 0,0 0 0 0 0,-1 0 0 0 0,1 0 0 0 0,0 1 0 0 0,0-1 0 0 0,1 0 0 0 0,-1 0-1 0 0,0-1 1 0 0,1 1 0 0 0,2 3 0 0 0,-3-4-9 0 0,1 0-1 0 0,0-1 1 0 0,0 1-1 0 0,0 0 1 0 0,0-1-1 0 0,0 1 1 0 0,-1-1-1 0 0,1 1 1 0 0,0-1-1 0 0,0 0 1 0 0,0 0-1 0 0,0 0 1 0 0,0 0-1 0 0,0 0 1 0 0,0 0-1 0 0,0-1 1 0 0,0 1-1 0 0,0-1 1 0 0,0 1-1 0 0,0-1 1 0 0,-1 0-1 0 0,1 0 1 0 0,3-1-1 0 0,10-7-38 0 0,-1-1 0 0 0,0 0 0 0 0,0-1 0 0 0,-1-1 0 0 0,14-16 0 0 0,-7 8 52 0 0,136-139-139 0 0,55-53 118 0 0,-199 202 16 0 0,-1-1 8 0 0,1 1-1 0 0,13-9 1 0 0,-21 16-16 0 0,0 1 0 0 0,0 0-1 0 0,0 0 1 0 0,0 0 0 0 0,1 1-1 0 0,-1-1 1 0 0,0 1-1 0 0,1 0 1 0 0,-1 0 0 0 0,1 1-1 0 0,5-1 1 0 0,-8 1 2 0 0,-1 0-1 0 0,1 1 1 0 0,-1-1-1 0 0,1 0 1 0 0,-1 1-1 0 0,1-1 1 0 0,-1 1-1 0 0,1 0 1 0 0,-1-1-1 0 0,0 1 1 0 0,1 0-1 0 0,-1 0 1 0 0,0 0-1 0 0,0 0 1 0 0,0 0-1 0 0,1 0 1 0 0,-1 0-1 0 0,0 1 1 0 0,-1-1-1 0 0,1 0 1 0 0,0 0-1 0 0,0 1 1 0 0,0-1-1 0 0,-1 1 1 0 0,2 1-1 0 0,1 7 27 0 0,0 0 0 0 0,4 20 0 0 0,-3-12 6 0 0,20 74 112 0 0,69 172-1 0 0,-82-240-136 0 0,-1 1 4 0 0,2-1-1 0 0,0-1 1 0 0,2 1 0 0 0,17 21-1 0 0,-29-41-1 0 0,2-1 0 0 0,-1 0 0 0 0,0 0 0 0 0,1 0 0 0 0,-1 0 1 0 0,1-1-1 0 0,0 1 0 0 0,0-1 0 0 0,0 0 0 0 0,5 2 0 0 0,-7-3-7 0 0,1 0 1 0 0,-1-1-1 0 0,1 1 1 0 0,-1-1-1 0 0,1 1 1 0 0,-1-1-1 0 0,1 0 1 0 0,-1 0-1 0 0,1 0 1 0 0,0-1-1 0 0,-1 1 1 0 0,1 0-1 0 0,-1-1 1 0 0,1 0-1 0 0,-1 1 1 0 0,0-1-1 0 0,1 0 1 0 0,-1 0-1 0 0,0-1 1 0 0,3-1-1 0 0,7-8-2 0 0,0 0 0 0 0,-1-1 0 0 0,0-1 0 0 0,-1 0 0 0 0,13-23-1 0 0,-14 23 7 0 0,40-62-296 0 0,-3-3 0 0 0,59-134-1 0 0,-99 188 87 0 0,-4 13 324 0 0,-39 65 216 0 0,19-29-96 0 0,-16 32 0 0 0,-44 124 326 0 0,-1 3-392 0 0,73-172-155 0 0,-1 0 0 0 0,0-1 0 0 0,-1 0 0 0 0,-10 11-1 0 0,3-11 35 0 0,15-11-45 0 0,0 1 0 0 0,-1-1 0 0 0,1 0-1 0 0,0 0 1 0 0,-1 0 0 0 0,1 0 0 0 0,0 0-1 0 0,-1 0 1 0 0,1 0 0 0 0,-1 0 0 0 0,1 0-1 0 0,0 0 1 0 0,-1 0 0 0 0,1 0 0 0 0,0 0-1 0 0,-1 0 1 0 0,1 0 0 0 0,0 0 0 0 0,-1 0-1 0 0,1-1 1 0 0,0 1 0 0 0,-1 0 0 0 0,1 0-1 0 0,0 0 1 0 0,-1-1 0 0 0,0 0-1 0 0,0-1 0 0 0,0 0 0 0 0,0 0 0 0 0,0 0 0 0 0,1 0 0 0 0,-1 0 1 0 0,0 0-1 0 0,1 0 0 0 0,0 0 0 0 0,-1 0 0 0 0,1 0 0 0 0,0-3 0 0 0,-6-101-325 0 0,5 57 6 0 0,-2 0 0 0 0,-16-76 0 0 0,17 116 250 0 0,0 0-1 0 0,-1 1 0 0 0,0-1 1 0 0,-1 1-1 0 0,0-1 1 0 0,0 1-1 0 0,-1 0 0 0 0,-10-13 1 0 0,12 17 74 0 0,-1 0-1 0 0,0 1 1 0 0,0-1 0 0 0,0 1 0 0 0,0 0 0 0 0,0 0 0 0 0,-1 1 0 0 0,1-1 0 0 0,-1 1 0 0 0,0 0-1 0 0,0 0 1 0 0,0 1 0 0 0,0-1 0 0 0,0 1 0 0 0,0 0 0 0 0,-9 0 0 0 0,2 1 48 0 0,0 0 1 0 0,1 1-1 0 0,-1 1 1 0 0,1 0 0 0 0,-1 0-1 0 0,1 1 1 0 0,0 0-1 0 0,0 1 1 0 0,0 1 0 0 0,0-1-1 0 0,-19 13 1 0 0,2 2 77 0 0,0 2 0 0 0,-44 41 0 0 0,-215 253 156 0 0,141-145-203 0 0,-66 58-13 0 0,138-156-43 0 0,-84 64 1 0 0,96-93-7 0 0,-1-3 1 0 0,-2-2-1 0 0,-110 46 0 0 0,159-77-20 0 0,0-1 0 0 0,-1-1-1 0 0,0 0 1 0 0,0-1 0 0 0,-1-1-1 0 0,1 0 1 0 0,-1-1 0 0 0,-23-1-1 0 0,34-2 1 0 0,0 1-1 0 0,-1-1 1 0 0,1 0-1 0 0,0 0 1 0 0,0-1-1 0 0,0 0 0 0 0,0 0 1 0 0,0-1-1 0 0,0 0 1 0 0,0 0-1 0 0,1-1 0 0 0,-7-4 1 0 0,1-1-30 0 0,0-1 1 0 0,1-1-1 0 0,0 0 1 0 0,1 0-1 0 0,-9-14 0 0 0,-14-21-126 0 0,3-1 0 0 0,1-1 0 0 0,2-1 0 0 0,-30-83 0 0 0,27 48-44 0 0,4-1 1 0 0,-17-101-1 0 0,32 113 499 0 0,3 0-1 0 0,1-91 1 0 0,-13 636 1015 0 0,15-429-1293 0 0,-51 502 337 0 0,52-494-312 0 0,1-1-75 0 0,-13 65 0 0 0,16-115 28 0 0,0 1 0 0 0,0 0 0 0 0,0-1 0 0 0,0 1 0 0 0,0 0 0 0 0,0-1 0 0 0,0 1 0 0 0,-1-1 0 0 0,1 1 0 0 0,0 0 0 0 0,0-1 0 0 0,-1 1 0 0 0,1 0 0 0 0,0-1 0 0 0,-1 1 0 0 0,1-1 0 0 0,-1 1 0 0 0,1-1 0 0 0,-1 1-1 0 0,1-1 1 0 0,-1 1 0 0 0,1-1 0 0 0,-1 0 0 0 0,1 1 0 0 0,-1-1 0 0 0,1 0 0 0 0,-1 1 0 0 0,0-1 0 0 0,1 0 0 0 0,-1 0 0 0 0,0 0 0 0 0,1 1 0 0 0,-1-1 0 0 0,0 0 0 0 0,-1-1 0 0 0,1 1 0 0 0,-1-1 0 0 0,1 0 0 0 0,0 0 1 0 0,-1 1-1 0 0,1-1 0 0 0,0 0 0 0 0,0 0 0 0 0,0-1 0 0 0,0 1 0 0 0,0 0 0 0 0,0 0 0 0 0,0 0 0 0 0,0-1 0 0 0,0 1 0 0 0,1 0 1 0 0,-2-3-1 0 0,-7-18-197 0 0,0 0 0 0 0,-8-36 0 0 0,7 21-31 0 0,-16-65-111 0 0,3-1 0 0 0,6-2 0 0 0,-8-196 0 0 0,24-93 249 0 0,2 324 137 0 0,4-1 0 0 0,25-129 0 0 0,23-4 132 0 0,-52 200-184 0 0,1 1-1 0 0,-1 0 0 0 0,0-1 0 0 0,0 1 1 0 0,0-1-1 0 0,-1 1 0 0 0,1-1 0 0 0,-1-5 1 0 0,-16 30-67 0 0,-3 9 45 0 0,-26 35 62 0 0,4 2-1 0 0,3 1 0 0 0,2 3 1 0 0,-26 75-1 0 0,-68 266 502 0 0,27 8-111 0 0,59-236-402 0 0,17-67-10 0 0,-67 257 36 0 0,93-373-51 0 0,-6 17-11 0 0,7-18 10 0 0,0 0 0 0 0,0 0 0 0 0,0 0 0 0 0,0 0-1 0 0,0 1 1 0 0,0-1 0 0 0,0 0 0 0 0,0 0 0 0 0,-1 0-1 0 0,1 0 1 0 0,0 0 0 0 0,0 0 0 0 0,0 0 0 0 0,0 0 0 0 0,0 0-1 0 0,0 0 1 0 0,0 1 0 0 0,-1-1 0 0 0,1 0 0 0 0,0 0-1 0 0,0 0 1 0 0,0 0 0 0 0,0 0 0 0 0,0 0 0 0 0,-1 0-1 0 0,1 0 1 0 0,0 0 0 0 0,0 0 0 0 0,0 0 0 0 0,0 0-1 0 0,0 0 1 0 0,-1 0 0 0 0,1 0 0 0 0,0 0 0 0 0,0-1 0 0 0,0 1-1 0 0,0 0 1 0 0,0 0 0 0 0,0 0 0 0 0,-1 0 0 0 0,-4-12-108 0 0,-9-42-220 0 0,-8-78-1 0 0,2-67 165 0 0,9 18 49 0 0,15-232 0 0 0,3 327 135 0 0,5 0 0 0 0,2 2 0 0 0,5 0 0 0 0,3 0-1 0 0,4 2 1 0 0,4 1 0 0 0,2 2 0 0 0,5 1 0 0 0,76-121 0 0 0,-97 174 5 0 0,1 1 0 0 0,1 1 0 0 0,34-34 0 0 0,-48 53-26 0 0,9-6-16 0 0,-8 13-1 0 0,-3 9-14 0 0,-4 18 116 0 0,0 0 0 0 0,-2 0 1 0 0,-11 44-1 0 0,-35 94-36 0 0,24-86-59 0 0,-261 1043 519 0 0,268-1031-499 0 0,-77 364 43 0 0,90-434-75 0 0,6-24 22 0 0,0 0 1 0 0,0 0-1 0 0,0 0 1 0 0,0 0-1 0 0,0 0 1 0 0,-1 0-1 0 0,1 0 1 0 0,0 0-1 0 0,0 0 1 0 0,0-1-1 0 0,0 1 1 0 0,0 0-1 0 0,0 0 0 0 0,0 0 1 0 0,0 0-1 0 0,0 0 1 0 0,0 0-1 0 0,0 0 1 0 0,0 0-1 0 0,-1 0 1 0 0,1 0-1 0 0,0 0 1 0 0,0 0-1 0 0,0 0 1 0 0,0 0-1 0 0,0 0 1 0 0,0 0-1 0 0,0 0 0 0 0,0 0 1 0 0,-1 0-1 0 0,1 0 1 0 0,0 0-1 0 0,0 0 1 0 0,0 0-1 0 0,0 0 1 0 0,0 0-1 0 0,0 0 1 0 0,0 0-1 0 0,0 0 1 0 0,-1 0-1 0 0,1 0 1 0 0,0 0-1 0 0,0 0 0 0 0,0 0 1 0 0,0 0-1 0 0,0 0 1 0 0,-3-18-353 0 0,-2-33 1 0 0,2 12 70 0 0,-8-447-644 0 0,12 324 862 0 0,1 42 16 0 0,5 0 0 0 0,22-119 0 0 0,5 67 78 0 0,9 1 1 0 0,6 2-1 0 0,87-196 0 0 0,-103 294 87 0 0,47-77 0 0 0,-52 105-62 0 0,-20 36-70 0 0,-4 11-15 0 0,-6 20 8 0 0,-1-2 79 0 0,-2 0 0 0 0,-1 0 0 0 0,-13 30-1 0 0,-35 66 22 0 0,17-42-112 0 0,-277 681 466 0 0,-59 418 31 0 0,318-930-341 0 0,14-54-63 0 0,35-174-23 0 0,1-14-26 0 0,-1-9-34 0 0,1-9-49 0 0,1-1-1 0 0,1 1 1 0 0,0-1 0 0 0,0-28 0 0 0,1 24 31 0 0,-8-403-218 0 0,10 412 263 0 0,11-194-15 0 0,35-32-52 0 0,21-2-19 0 0,209-544-64 0 0,64 30 322 0 0,-314 701-214 0 0,-24 51 2 0 0,-1 7 24 0 0,-4 16 18 0 0,-12 18 87 0 0,-26 54-1 0 0,16-41-31 0 0,-186 498 494 0 0,39 18-289 0 0,137-449-238 0 0,-117 417 136 0 0,29 6-131 0 0,109-449-55 0 0,4 1 0 0 0,4 119-1 0 0,6-221-94 0 0,0 1 0 0 0,-1-1-1 0 0,-2-10 1 0 0,-2-11-4 0 0,-13-449-146 0 0,18 422 255 0 0,3-79 22 0 0,6 1 0 0 0,6 0 0 0 0,39-165 0 0 0,1 84-44 0 0,9 1 0 0 0,152-339-1 0 0,-165 451 89 0 0,66-98 1 0 0,-74 131-49 0 0,-41 65-17 0 0,-2 7-3 0 0,0 3 24 0 0,-1 1-1 0 0,0-1 1 0 0,-1 0 0 0 0,0 0-1 0 0,0 0 1 0 0,-1 0-1 0 0,1 0 1 0 0,-2 0 0 0 0,1-1-1 0 0,-5 8 1 0 0,-1 2 7 0 0,-252 573-101 0 0,61 0 290 0 0,25 9 1 0 0,-19 288 77 0 0,178-737-194 0 0,10-114-37 0 0,6-35-53 0 0,0 0 1 0 0,0 0-1 0 0,0 1 0 0 0,0-1 1 0 0,0 0-1 0 0,0 0 0 0 0,0 1 0 0 0,0-1 1 0 0,0 0-1 0 0,0 0 0 0 0,0 0 1 0 0,0 1-1 0 0,0-1 0 0 0,0 0 0 0 0,0 0 1 0 0,0 1-1 0 0,-1-1 0 0 0,1 0 0 0 0,0 0 1 0 0,0 0-1 0 0,0 0 0 0 0,0 1 1 0 0,0-1-1 0 0,-1 0 0 0 0,1 0 0 0 0,0 0 1 0 0,0 0-1 0 0,0 0 0 0 0,-1 0 1 0 0,1 1-1 0 0,0-1 0 0 0,0 0 0 0 0,-1 0 1 0 0,1 0-1 0 0,0 0 0 0 0,0 0 1 0 0,0 0-1 0 0,-1 0 0 0 0,1 0 0 0 0,0 0 1 0 0,0 0-1 0 0,-1 0 0 0 0,1 0 1 0 0,0 0-1 0 0,0 0 0 0 0,-1 0 0 0 0,1 0 1 0 0,0 0-1 0 0,0 0 0 0 0,0-1 0 0 0,-1 1 1 0 0,1 0-1 0 0,0 0 0 0 0,0 0 1 0 0,0 0-1 0 0,-1 0 0 0 0,1-1 0 0 0,0 1 1 0 0,0 0-1 0 0,0 0 0 0 0,0 0 1 0 0,0 0-1 0 0,-1-1 0 0 0,1 1 0 0 0,0 0 1 0 0,-10-18-153 0 0,2-12 14 0 0,-8-59-1 0 0,8 39 129 0 0,-32-319-158 0 0,30-6 28 0 0,11 269 192 0 0,5 0 1 0 0,32-177 0 0 0,-1 126-78 0 0,6 0 1 0 0,93-216 0 0 0,-49 179 7 0 0,153-251-1 0 0,-209 385-481 0 0,-97 165 744 0 0,-8 11-267 0 0,10 6 60 0 0,6 2 0 0 0,-63 192 0 0 0,-43 279 266 0 0,51-61-193 0 0,91-393 1 0 0,-6 260 0 0 0,28-202-94 0 0,-4-453-142 0 0,-1-33-12 0 0,19 2 76 0 0,43-63 85 0 0,25 2-57 0 0,74-199-58 0 0,41 16 206 0 0,-188 510-140 0 0,-7 16 15 0 0,-1 1 0 0 0,1-1 1 0 0,-1 0-1 0 0,0 0 0 0 0,0 0 0 0 0,0 0 1 0 0,0 0-1 0 0,-1 0 0 0 0,1 0 1 0 0,-1-4-1 0 0,-6 17 11 0 0,-17 21 67 0 0,-21 28-59 0 0,-46 82-1 0 0,41-44 6 0 0,4 2-1 0 0,-55 182 0 0 0,-26 225 216 0 0,7 173 14 0 0,72 8-282 0 0,46-606 68 0 0,2 69-41 0 0,0-120 17 0 0,2 1 0 0 0,12 50 0 0 0,-7-57 2 0 0,-7-22-18 0 0,0-5-6 0 0,-7-44-43 0 0,-27-82-93 0 0,14 58 86 0 0,-21-92 34 0 0,8-1-1 0 0,-17-240 0 0 0,41-78 115 0 0,11 374-65 0 0,5 1 0 0 0,40-200 1 0 0,-15 177-31 0 0,5 1 1 0 0,5 2-1 0 0,6 2 1 0 0,74-134 0 0 0,-101 218-110 0 0,3 1 0 0 0,30-38 1 0 0,-55 78 124 0 0,0 0-1 0 0,0 0 1 0 0,0 0 0 0 0,0 1 0 0 0,0-1 0 0 0,0 0 0 0 0,0 0 0 0 0,0 0 0 0 0,0 0 0 0 0,0 0-1 0 0,0 0 1 0 0,0 1 0 0 0,0-1 0 0 0,0 0 0 0 0,0 0 0 0 0,0 0 0 0 0,0 0 0 0 0,0 0 0 0 0,0 0-1 0 0,0 0 1 0 0,0 0 0 0 0,1 1 0 0 0,-1-1 0 0 0,0 0 0 0 0,0 0 0 0 0,0 0 0 0 0,0 0 0 0 0,0 0-1 0 0,0 0 1 0 0,0 0 0 0 0,0 0 0 0 0,1 0 0 0 0,-1 0 0 0 0,0 0 0 0 0,0 0 0 0 0,0 0 0 0 0,0 0-1 0 0,0 0 1 0 0,0 0 0 0 0,1 0 0 0 0,-1 0 0 0 0,0 0 0 0 0,0 0 0 0 0,0 0 0 0 0,0 0 0 0 0,0 0-1 0 0,0 0 1 0 0,1 0 0 0 0,-1 0 0 0 0,0 0 0 0 0,0 0 0 0 0,0 0 0 0 0,0 0 0 0 0,0 0 0 0 0,0 0-1 0 0,0 0 1 0 0,0-1 0 0 0,1 1 0 0 0,-1 0 0 0 0,0 0 0 0 0,0 0 0 0 0,0 0 0 0 0,0 0 0 0 0,0 0-1 0 0,0 16 108 0 0,0-10-68 0 0,-2 34 23 0 0,-2 0 0 0 0,-16 71 0 0 0,5-35-68 0 0,-28 161 55 0 0,-139 741-4 0 0,180-969-38 0 0,-125 729 216 0 0,119-638-213 0 0,5-86-32 0 0,3-14 17 0 0,0 0-1 0 0,-1 0 0 0 0,1 0 1 0 0,0 0-1 0 0,0 0 0 0 0,-1 0 1 0 0,1 0-1 0 0,0 0 0 0 0,0 0 1 0 0,0 0-1 0 0,-1 0 1 0 0,1 0-1 0 0,0 0 0 0 0,0 0 1 0 0,0-1-1 0 0,0 1 0 0 0,-1 0 1 0 0,1 0-1 0 0,0 0 1 0 0,0 0-1 0 0,0 0 0 0 0,0-1 1 0 0,0 1-1 0 0,0 0 0 0 0,-1 0 1 0 0,1 0-1 0 0,0-1 1 0 0,0 1-1 0 0,0 0 0 0 0,0 0 1 0 0,0 0-1 0 0,0-1 0 0 0,0 1 1 0 0,-9-27-341 0 0,1-24-86 0 0,2 0 1 0 0,1-64-1 0 0,5 20-3463 0 0,0 62 1285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736"/>
    </inkml:context>
    <inkml:brush xml:id="br0">
      <inkml:brushProperty name="width" value="0.05" units="cm"/>
      <inkml:brushProperty name="height" value="0.05" units="cm"/>
      <inkml:brushProperty name="color" value="#E71224"/>
    </inkml:brush>
  </inkml:definitions>
  <inkml:trace contextRef="#ctx0" brushRef="#br0">0 54 7411 0 0,'0'0'2631'0'0,"1"9"-1716"0"0,5 52 402 0 0,-4-52-1129 0 0,0-1 1 0 0,0 1-1 0 0,0-1 0 0 0,1 1 1 0 0,1-1-1 0 0,5 10 1 0 0,-6-102 2735 0 0,-3-4-2532 0 0,0 88-395 0 0,0-1 0 0 0,0 0 0 0 0,0 1 0 0 0,1-1 0 0 0,-1 0 0 0 0,0 1 0 0 0,0-1 0 0 0,0 0 0 0 0,1 1 0 0 0,-1-1 0 0 0,0 1 0 0 0,1-1 0 0 0,-1 0 0 0 0,1 1 0 0 0,-1-1 0 0 0,1 1 0 0 0,-1-1 0 0 0,1 1-1 0 0,-1-1 1 0 0,1 1 0 0 0,-1 0 0 0 0,1-1 0 0 0,0 1 0 0 0,21-7 75 0 0,-17 7-399 0 0,1-1 0 0 0,-1 1 0 0 0,1 0-1 0 0,-1 1 1 0 0,1-1 0 0 0,5 3-1 0 0,-7-2-428 0 0,0 1 0 0 0,-1 0-1 0 0,1 0 1 0 0,0 0 0 0 0,3 4-1 0 0,4 3-2791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4.195"/>
    </inkml:context>
    <inkml:brush xml:id="br0">
      <inkml:brushProperty name="width" value="0.05" units="cm"/>
      <inkml:brushProperty name="height" value="0.05" units="cm"/>
      <inkml:brushProperty name="color" value="#E71224"/>
    </inkml:brush>
  </inkml:definitions>
  <inkml:trace contextRef="#ctx0" brushRef="#br0">72 76 3442 0 0,'0'0'6266'0'0,"9"1"-5711"0"0,104 9 1606 0 0,-108-10-2089 0 0,0 0-1 0 0,1-1 0 0 0,-1 1 1 0 0,0-1-1 0 0,10-3 0 0 0,-13 4-36 0 0,-1-1-1 0 0,0 1 0 0 0,0-1 0 0 0,1 0 1 0 0,-1 1-1 0 0,0-1 0 0 0,0 0 1 0 0,0 0-1 0 0,0 0 0 0 0,0 0 0 0 0,0 1 1 0 0,0-2-1 0 0,0 1 0 0 0,0 0 0 0 0,0 0 1 0 0,0 0-1 0 0,-1 0 0 0 0,1 0 1 0 0,-1-1-1 0 0,1 1 0 0 0,0 0 0 0 0,-1-1 1 0 0,0 1-1 0 0,1 0 0 0 0,-1-1 1 0 0,0 1-1 0 0,0 0 0 0 0,0-2 0 0 0,0 1 18 0 0,1 1-1 0 0,-1-1 1 0 0,0 0 0 0 0,0 1-1 0 0,0-1 1 0 0,-1 0-1 0 0,1 1 1 0 0,0-1 0 0 0,-1 1-1 0 0,1-1 1 0 0,-1 1-1 0 0,1-1 1 0 0,-1 1-1 0 0,0-1 1 0 0,1 1 0 0 0,-1-1-1 0 0,0 1 1 0 0,0 0-1 0 0,0-1 1 0 0,-2 0-1 0 0,0 0-48 0 0,0 1 0 0 0,-1-1 0 0 0,1 1 0 0 0,-1 0 1 0 0,0 0-1 0 0,1 0 0 0 0,-9-1 0 0 0,12 2-1 0 0,-26-3 21 0 0,-51 1-1 0 0,69 2 21 0 0,4 0-12 0 0,0 0 0 0 0,0 1 0 0 0,0 0 0 0 0,0 0 0 0 0,0 0 0 0 0,0 0 0 0 0,0 1-1 0 0,0-1 1 0 0,1 1 0 0 0,-1 0 0 0 0,1 0 0 0 0,-1 1 0 0 0,1-1 0 0 0,0 1 0 0 0,0-1 0 0 0,0 1 0 0 0,-4 5 0 0 0,3-4-13 0 0,1 0 1 0 0,0 1 0 0 0,0-1 0 0 0,1 0-1 0 0,-1 1 1 0 0,1 0 0 0 0,0-1 0 0 0,1 1-1 0 0,-1 0 1 0 0,1 0 0 0 0,-1 0 0 0 0,2 0-1 0 0,-2 9 1 0 0,2-12-14 0 0,0 0 0 0 0,0 0 0 0 0,0 0 0 0 0,0-1 0 0 0,0 1 1 0 0,0 0-1 0 0,1 0 0 0 0,-1 0 0 0 0,1-1 0 0 0,-1 1 0 0 0,1 0 0 0 0,0-1 0 0 0,-1 1 0 0 0,1 0 0 0 0,2 1 0 0 0,-1-1-3 0 0,0-1 0 0 0,0 1-1 0 0,0-1 1 0 0,1 0 0 0 0,-1 0 0 0 0,0 0 0 0 0,1 0-1 0 0,-1 0 1 0 0,5 1 0 0 0,45 10 122 0 0,0-2 1 0 0,57 4-1 0 0,30 5-6492 0 0,-103-12 1187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50.674"/>
    </inkml:context>
    <inkml:brush xml:id="br0">
      <inkml:brushProperty name="width" value="0.35" units="cm"/>
      <inkml:brushProperty name="height" value="0.35" units="cm"/>
    </inkml:brush>
  </inkml:definitions>
  <inkml:trace contextRef="#ctx0" brushRef="#br0">437 1054 12358 0 0,'0'0'-334'0'0,"-6"-20"-501"0"0,1 2 861 0 0,0 5 2 0 0,1 0 0 0 0,1 0 1 0 0,0-1-1 0 0,1 1 0 0 0,1-1 0 0 0,0 0 1 0 0,0 1-1 0 0,2-15 0 0 0,5-187 946 0 0,-7 205-814 0 0,1 1 1 0 0,-2 0-1 0 0,1 0 1 0 0,-1 1-1 0 0,0-1 1 0 0,-1 0-1 0 0,0 0 1 0 0,-1 1-1 0 0,1 0 1 0 0,-2 0-1 0 0,1 0 0 0 0,-1 0 1 0 0,-10-12-1 0 0,14 19-116 0 0,1 0-1 0 0,-1 0 0 0 0,0 1 0 0 0,0-1 1 0 0,0 0-1 0 0,0 0 0 0 0,0 0 1 0 0,0 1-1 0 0,-1-1 0 0 0,1 0 0 0 0,0 1 1 0 0,0-1-1 0 0,0 1 0 0 0,-1-1 0 0 0,1 1 1 0 0,0 0-1 0 0,0 0 0 0 0,-1-1 1 0 0,1 1-1 0 0,0 0 0 0 0,-1 0 0 0 0,1 0 1 0 0,0 0-1 0 0,0 1 0 0 0,-1-1 0 0 0,1 0 1 0 0,0 0-1 0 0,0 1 0 0 0,-1-1 1 0 0,1 1-1 0 0,0-1 0 0 0,0 1 0 0 0,0 0 1 0 0,0-1-1 0 0,-1 1 0 0 0,1 0 0 0 0,0 0 1 0 0,1 0-1 0 0,-1 0 0 0 0,0-1 1 0 0,-1 3-1 0 0,-5 4-15 0 0,1 0 1 0 0,0 1-1 0 0,1 0 0 0 0,-7 11 1 0 0,11-17-57 0 0,-97 181-157 0 0,53-94 98 0 0,41-80 54 0 0,-4 8 58 0 0,5-15-121 0 0,2-9-160 0 0,1-27 92 0 0,2 0 0 0 0,1 1-1 0 0,12-58 1 0 0,-2 43 94 0 0,4-15 271 0 0,13-86-1 0 0,-29 125-113 0 0,-1 16-112 0 0,0 10-274 0 0,1 13 333 0 0,-1 0 0 0 0,-1-1-1 0 0,0 1 1 0 0,-1-1 0 0 0,-1 1 0 0 0,-8 26 0 0 0,-11 17 19 0 0,-19 44 33 0 0,36-93-114 0 0,5-15-170 0 0,1-6 37 0 0,1-10 116 0 0,0 0 0 0 0,2 0 0 0 0,1 0 0 0 0,0 0 0 0 0,12-25 1 0 0,10-48 180 0 0,-21 57-79 0 0,-2-1 1 0 0,-2-71 0 0 0,-2 79-127 0 0,-7 91 303 0 0,4 61-263 0 0,5-136-574 0 0,1 4 568 0 0,2 0-1 0 0,9-19 0 0 0,5-11 258 0 0,30-108 199 0 0,-45 136-378 0 0,1-8-152 0 0,-3 50-99 0 0,8 42 1 0 0,-1 0 411 0 0,-9-68-205 0 0,1-1 1 0 0,-1 1-1 0 0,1 0 0 0 0,0 0 1 0 0,-1-1-1 0 0,1 1 0 0 0,2 2 1 0 0,-3-4-5 0 0,0-1-1 0 0,0 0 1 0 0,0 0 0 0 0,0 0 0 0 0,0 0 0 0 0,0 1 0 0 0,0-1-1 0 0,1 0 1 0 0,-1 0 0 0 0,0 0 0 0 0,0 0 0 0 0,0 0 0 0 0,0 1-1 0 0,1-1 1 0 0,-1 0 0 0 0,0 0 0 0 0,0 0 0 0 0,0 0 0 0 0,0 0-1 0 0,1 0 1 0 0,-1 0 0 0 0,0 0 0 0 0,0 0 0 0 0,0 0 0 0 0,1 0-1 0 0,-1 0 1 0 0,0 0 0 0 0,0 0 0 0 0,0 0 0 0 0,1 0 0 0 0,-1 0-1 0 0,0 0 1 0 0,0 0 0 0 0,1 0 0 0 0,6-11-263 0 0,1-12 345 0 0,-2 1-1 0 0,0-1 0 0 0,-1 0 1 0 0,1-26-1 0 0,0-95-7 0 0,-4 161-367 0 0,-2 2 201 0 0,-1 19-1 0 0,0 0 162 0 0,1 387 144 0 0,0-425-213 0 0,0 0 1 0 0,0 1-1 0 0,0-1 1 0 0,0 0-1 0 0,0 1 1 0 0,0-1-1 0 0,0 0 1 0 0,0 1-1 0 0,0-1 1 0 0,0 0-1 0 0,0 1 1 0 0,0-1-1 0 0,1 0 1 0 0,-1 0-1 0 0,0 1 1 0 0,0-1-1 0 0,0 0 1 0 0,0 0-1 0 0,0 1 1 0 0,1-1-1 0 0,-1 0 1 0 0,0 0-1 0 0,0 1 1 0 0,0-1-1 0 0,1 0 1 0 0,-1 0-1 0 0,0 0 1 0 0,0 1-1 0 0,1-1 1 0 0,-1 0-1 0 0,0 0 1 0 0,1 0-1 0 0,-1 0 0 0 0,0 0 1 0 0,0 0-1 0 0,1 0 1 0 0,-1 1-1 0 0,0-1 1 0 0,1 0-1 0 0,-1 0 1 0 0,0 0-1 0 0,1 0 1 0 0,-1 0-1 0 0,0 0 1 0 0,1-1-1 0 0,15-5-233 0 0,2-7 186 0 0,-1 0-1 0 0,0-1 0 0 0,25-27 0 0 0,-2 1 150 0 0,-32 33-69 0 0,10-9 100 0 0,24-18 0 0 0,-37 30-142 0 0,-1 1 0 0 0,1 1 0 0 0,0-1 0 0 0,0 0 0 0 0,0 1 1 0 0,0 0-1 0 0,0 0 0 0 0,1 1 0 0 0,-1 0 0 0 0,0-1 0 0 0,9 1 0 0 0,-14 1 2 0 0,1 0 1 0 0,0 0-1 0 0,-1 0 0 0 0,1 0 0 0 0,-1 0 1 0 0,1 0-1 0 0,0 1 0 0 0,-1-1 0 0 0,1 0 1 0 0,-1 0-1 0 0,1 1 0 0 0,0-1 0 0 0,-1 0 1 0 0,1 1-1 0 0,-1-1 0 0 0,1 1 0 0 0,-1-1 1 0 0,1 1-1 0 0,-1-1 0 0 0,0 1 0 0 0,1-1 1 0 0,-1 1-1 0 0,1-1 0 0 0,-1 1 0 0 0,0-1 1 0 0,0 1-1 0 0,1 0 0 0 0,-1-1 0 0 0,0 1 1 0 0,0-1-1 0 0,0 2 0 0 0,2 22 68 0 0,-3-17-61 0 0,2 49 188 0 0,1-18-105 0 0,-3 0 0 0 0,0 0 1 0 0,-11 57-1 0 0,-99 277 387 0 0,108-362-434 0 0,0 0-13 0 0,1-5-5 0 0,0 1-1 0 0,0 1 1 0 0,1-1-1 0 0,-1 0 1 0 0,1 8-1 0 0,1-14-14 0 0,0 0 1 0 0,0 0-1 0 0,0 0 0 0 0,0-1 0 0 0,0 1 0 0 0,0 0 0 0 0,0 0 0 0 0,0 0 0 0 0,0 0 0 0 0,0 0 1 0 0,1 0-1 0 0,-1 0 0 0 0,0 0 0 0 0,0 0 0 0 0,0 0 0 0 0,0 0 0 0 0,0 0 0 0 0,0 0 0 0 0,0 0 0 0 0,0 0 1 0 0,0 0-1 0 0,0 0 0 0 0,1 0 0 0 0,-1 0 0 0 0,0 0 0 0 0,0 0 0 0 0,0 0 0 0 0,0 0 0 0 0,0 0 1 0 0,0 0-1 0 0,0 0 0 0 0,0 0 0 0 0,0 1 0 0 0,0-1 0 0 0,0 0 0 0 0,0 0 0 0 0,0 0 0 0 0,1 0 0 0 0,-1 0 1 0 0,0 0-1 0 0,0 0 0 0 0,0 0 0 0 0,0 0 0 0 0,0 0 0 0 0,0 0 0 0 0,0 0 0 0 0,0 0 0 0 0,0 1 1 0 0,0-1-1 0 0,0 0 0 0 0,0 0 0 0 0,0 0 0 0 0,0 0 0 0 0,0 0 0 0 0,0 0 0 0 0,0 0 0 0 0,0 0 0 0 0,0 0 1 0 0,0 0-1 0 0,0 0 0 0 0,0 1 0 0 0,0-1 0 0 0,0 0 0 0 0,0 0 0 0 0,0 0 0 0 0,0 0 0 0 0,0 0 1 0 0,0 0-1 0 0,3-1-35 0 0,1-1 0 0 0,-1 1 1 0 0,1-1-1 0 0,-1 0 0 0 0,0 0 1 0 0,0 0-1 0 0,1 0 1 0 0,-1-1-1 0 0,-1 0 0 0 0,6-5 1 0 0,10-9-7 0 0,180-175 364 0 0,21-17 92 0 0,-209 200-329 0 0,-12 14 370 0 0,-17 16 181 0 0,17-19-693 0 0,-360 424 226 0 0,352-414-163 0 0,7-9-6 0 0,-1 1 0 0 0,1 0 0 0 0,0-1 0 0 0,0 1 0 0 0,1 0 0 0 0,-1 0 0 0 0,1 1 0 0 0,0-1 0 0 0,0 0 0 0 0,1 1 0 0 0,-1-1 0 0 0,0 6 0 0 0,7-12-255 0 0,419-368-90 0 0,-146 121 580 0 0,-248 222-202 0 0,-9 9-105 0 0,33-24-1 0 0,-54 42 68 0 0,0 0 0 0 0,0 0 0 0 0,0 0 0 0 0,0 0 0 0 0,0 0 0 0 0,0 1 0 0 0,0-1 0 0 0,0 0 0 0 0,0 0 0 0 0,0 0 0 0 0,0 0 0 0 0,0 0 0 0 0,0 0 0 0 0,0 0 0 0 0,0 0 0 0 0,0 0 0 0 0,0 0 0 0 0,0 0 0 0 0,0 0 0 0 0,0 0 0 0 0,0 0 0 0 0,0 1 0 0 0,1-1 0 0 0,-1 0 0 0 0,0 0 0 0 0,0 0 0 0 0,0 0 0 0 0,0 0 0 0 0,0 0 0 0 0,0 0 0 0 0,0 0 0 0 0,0 0 0 0 0,0 0 0 0 0,0 0 0 0 0,0 0 0 0 0,0 0 0 0 0,0 0 0 0 0,1 0 0 0 0,-1 0 0 0 0,0 0 0 0 0,0 0 0 0 0,0 0 0 0 0,0 0 0 0 0,0 0 0 0 0,0 0 0 0 0,0 0 0 0 0,0 0 0 0 0,0 0 0 0 0,0 0 0 0 0,0 0 0 0 0,0 0 0 0 0,1 0 0 0 0,-1 0 0 0 0,0 0 0 0 0,0 0 0 0 0,-1 3 4 0 0,1 0-1 0 0,-1 0 1 0 0,0 0-1 0 0,0 0 1 0 0,0 0 0 0 0,0 0-1 0 0,0 0 1 0 0,-1 0 0 0 0,0 0-1 0 0,1-1 1 0 0,-1 1-1 0 0,0-1 1 0 0,0 1 0 0 0,0-1-1 0 0,-5 4 1 0 0,-2 4 13 0 0,-262 344 157 0 0,32 21-114 0 0,231-361-55 0 0,0 0 0 0 0,0 0 1 0 0,-9 29-1 0 0,16-38-3 0 0,5-4-59 0 0,-1-2 15 0 0,1 0 0 0 0,-1-1-1 0 0,0 1 1 0 0,0-1 0 0 0,0 1-1 0 0,0-1 1 0 0,4-3 0 0 0,60-49-132 0 0,68-69 1 0 0,-86 75 231 0 0,515-523 447 0 0,-541 541-598 0 0,-31 61 312 0 0,-5-8-155 0 0,-2-1-1 0 0,0-1 0 0 0,-23 25 1 0 0,-7 8-24 0 0,-267 369 76 0 0,230-308-132 0 0,-55 80 38 0 0,131-186-16 0 0,4-7-3 0 0,1 0 1 0 0,-1 0-1 0 0,1 0 1 0 0,0 1 0 0 0,-1-1-1 0 0,1 0 1 0 0,0 1-1 0 0,0-1 1 0 0,1 0 0 0 0,-1 1-1 0 0,0-1 1 0 0,0 6-1 0 0,10-16-274 0 0,46-42-86 0 0,317-311 470 0 0,-181 139-65 0 0,-22-16-89 0 0,-159 223 16 0 0,-8 12 10 0 0,1 0 1 0 0,-1 0 0 0 0,0 0-1 0 0,-1 0 1 0 0,1 0 0 0 0,0 0-1 0 0,-1-1 1 0 0,0 1 0 0 0,0-1-1 0 0,0 1 1 0 0,1-5 0 0 0,-2 10 33 0 0,-1-1 0 0 0,1 1 0 0 0,0 0 0 0 0,0-1 0 0 0,-1 1 0 0 0,1 0 0 0 0,-1-1 1 0 0,0 1-1 0 0,1-1 0 0 0,-2 2 0 0 0,-65 103 274 0 0,14-25-283 0 0,-156 278 117 0 0,-40 66-5 0 0,208-362-108 0 0,11-18 24 0 0,-35 72 0 0 0,68-122-111 0 0,0 0 1 0 0,-1 1-1 0 0,2-1 0 0 0,-1 1 1 0 0,4-5-1 0 0,7-6-49 0 0,120-141-32 0 0,-12 17 344 0 0,394-492 72 0 0,-415 505-224 0 0,-86 107-35 0 0,-14 16 27 0 0,-3 4 15 0 0,-25 23 222 0 0,10-8-67 0 0,-286 272 77 0 0,76-70-203 0 0,-436 353-364 0 0,608-531 232 0 0,-115 65 0 0 0,159-99 62 0 0,-1 0 1 0 0,1-1-1 0 0,-1 0 1 0 0,0-1-1 0 0,0-1 1 0 0,0 0-1 0 0,-1 0 1 0 0,1-1-1 0 0,-1-1 1 0 0,-12 0 0 0 0,22-1-15 0 0,1 0 1 0 0,-1 0 0 0 0,1 0 0 0 0,-1-1 0 0 0,0 1 0 0 0,1-1 0 0 0,-1 0 0 0 0,1 0 0 0 0,0 0 0 0 0,-1 0 0 0 0,1 0 0 0 0,0-1 0 0 0,0 1 0 0 0,0-1 0 0 0,-1 1-1 0 0,2-1 1 0 0,-1 0 0 0 0,0 0 0 0 0,0 0 0 0 0,0 0 0 0 0,1 0 0 0 0,-1 0 0 0 0,1 0 0 0 0,0 0 0 0 0,0-1 0 0 0,0 1 0 0 0,-2-4 0 0 0,0-5-118 0 0,1-1 0 0 0,0 1 0 0 0,1 0 0 0 0,0 0 0 0 0,1-13 0 0 0,0 12 45 0 0,-2-54 3 0 0,3 0-1 0 0,2-1 1 0 0,21-103 0 0 0,10-20 896 0 0,-36 216-718 0 0,-2 1 0 0 0,-1 0 0 0 0,0-1 0 0 0,-16 41 0 0 0,3-7-41 0 0,-152 492 178 0 0,164-533-229 0 0,-2 8 27 0 0,5-20-73 0 0,2-9-81 0 0,2-11 7 0 0,1 0 0 0 0,1 0-1 0 0,0 0 1 0 0,9-23-1 0 0,28-54 74 0 0,-19 46 132 0 0,122-288 111 0 0,-113 247-143 0 0,-3 0 1 0 0,16-92-1 0 0,-39 153-42 0 0,-1 0-1 0 0,-1-36 1 0 0,-3 81 61 0 0,-1 0 0 0 0,-1-1 0 0 0,-7 25 0 0 0,2-10-51 0 0,-37 288 148 0 0,26 3-104 0 0,2-26 8 0 0,0-101-101 0 0,-49 221 1 0 0,59-390 17 0 0,2-10-88 0 0,-4 34 0 0 0,9-65-42 0 0,1-1 0 0 0,1 0 1 0 0,0 1-1 0 0,0-1 0 0 0,7-16 0 0 0,28-60 82 0 0,-22 53 53 0 0,186-410 471 0 0,28 18-427 0 0,-213 400-107 0 0,-15 29 35 0 0,-1 1 0 0 0,0-1-1 0 0,1 1 1 0 0,-1-1 0 0 0,0 1-1 0 0,-1-1 1 0 0,1 0 0 0 0,-1 5-1 0 0,-8 20 154 0 0,0 0-1 0 0,-2 0 1 0 0,-19 34-1 0 0,-12 26-81 0 0,6 7-6 0 0,4 2 0 0 0,-21 110 0 0 0,-21 204-130 0 0,72-394 95 0 0,-21 127 48 0 0,-44 150 1 0 0,66-330-111 0 0,2 10-78 0 0,1 0 0 0 0,11-53 0 0 0,23-55 237 0 0,-25 97-116 0 0,65-212 112 0 0,133-297-1 0 0,-196 517-78 0 0,49-101 9 0 0,-48 105-52 0 0,2-1-1 0 0,28-36 1 0 0,-41 60 12 0 0,11-12-57 0 0,-13 15 72 0 0,-1 0 0 0 0,0 0 0 0 0,0 0 0 0 0,0 0 0 0 0,0 0 0 0 0,0-1 0 0 0,1 1 0 0 0,-1 0 0 0 0,0 0 0 0 0,0 0 0 0 0,0 0 0 0 0,0 1 0 0 0,0-1 0 0 0,1 0 0 0 0,-1 0 0 0 0,0 0 0 0 0,0 0 0 0 0,0 0-1 0 0,0 0 1 0 0,0 0 0 0 0,1 0 0 0 0,-1 0 0 0 0,0 0 0 0 0,0 0 0 0 0,0 0 0 0 0,0 0 0 0 0,0 1 0 0 0,0-1 0 0 0,0 0 0 0 0,1 0 0 0 0,-1 0 0 0 0,0 0 0 0 0,0 0 0 0 0,0 0 0 0 0,0 0 0 0 0,0 1 0 0 0,0-1 0 0 0,0 0 0 0 0,2 14-347 0 0,-3-1 301 0 0,0 0 0 0 0,-1 0 0 0 0,0 0 1 0 0,-1 0-1 0 0,0 0 0 0 0,-7 16 0 0 0,-40 77 256 0 0,33-72-202 0 0,-84 163 75 0 0,-64 134 114 0 0,23-19-78 0 0,-31 67-90 0 0,-17-11 44 0 0,105-218 29 0 0,83-147-101 0 0,2-10-18 0 0,1-7-52 0 0,1-1-1 0 0,0 1 1 0 0,1 0 0 0 0,1 0-1 0 0,0 0 1 0 0,1 1 0 0 0,9-18-1 0 0,131-271 194 0 0,-77 166-72 0 0,361-649 94 0 0,-338 639-82 0 0,216-260 0 0 0,-293 390-80 0 0,22-19 0 0 0,-32 32-4 0 0,15-10-36 0 0,-19 13 55 0 0,0 0 0 0 0,1 0 1 0 0,-1 0-1 0 0,0 0 1 0 0,0 0-1 0 0,1 0 1 0 0,-1 0-1 0 0,0 0 0 0 0,0 0 1 0 0,0 0-1 0 0,1 0 1 0 0,-1 0-1 0 0,0 0 1 0 0,0 0-1 0 0,0 0 1 0 0,1 0-1 0 0,-1 0 0 0 0,0 0 1 0 0,0 1-1 0 0,0-1 1 0 0,1 0-1 0 0,-1 0 1 0 0,0 0-1 0 0,0 0 1 0 0,0 0-1 0 0,0 1 0 0 0,1-1 1 0 0,-1 0-1 0 0,0 0 1 0 0,0 0-1 0 0,2 14-327 0 0,-3-2 319 0 0,-1 0-1 0 0,0 0 1 0 0,-1 0-1 0 0,0-1 1 0 0,-1 1-1 0 0,-9 20 1 0 0,-43 68 225 0 0,24-46-164 0 0,-716 1424 136 0 0,701-1380-152 0 0,-33 77 24 0 0,77-167-60 0 0,-3 12 17 0 0,22-40-289 0 0,111-155-240 0 0,-49 71 650 0 0,7-11-85 0 0,495-687 245 0 0,-29-20-68 0 0,-539 802-240 0 0,54-94-106 0 0,-72 131 289 0 0,-14 27 343 0 0,-127 183-152 0 0,60-100-334 0 0,-985 1561-63 0 0,1031-1622 60 0 0,-66 121 29 0 0,109-198-172 0 0,-2 7 83 0 0,1 0 1 0 0,0 1-1 0 0,-1-1 1 0 0,1 1-1 0 0,3-7 1 0 0,16-28-229 0 0,47-68 1 0 0,-36 61 339 0 0,21-34-36 0 0,395-578 181 0 0,-112 189-147 0 0,173-229-114 0 0,-491 675 8 0 0,-13 17 19 0 0,0 1 0 0 0,-1-1 0 0 0,1 0 0 0 0,-1 0 0 0 0,0 0 0 0 0,2-8 1 0 0,-8 29 353 0 0,3-13-274 0 0,0 0 0 0 0,-1 1-1 0 0,1-1 1 0 0,-1 0 0 0 0,0 0-1 0 0,-2 4 1 0 0,-13 25 152 0 0,-34 48 0 0 0,18-30-230 0 0,-258 430 24 0 0,55-91-109 0 0,119-198 82 0 0,-179 285 13 0 0,-16-16 101 0 0,287-425-109 0 0,21-31-1 0 0,2-7-13 0 0,1 1 1 0 0,0-1 0 0 0,1 0 0 0 0,-1 1 0 0 0,1-1 0 0 0,0 1 0 0 0,-1-1 0 0 0,1 1 0 0 0,0-1 0 0 0,0 1 0 0 0,3-4 0 0 0,47-72-668 0 0,286-387 681 0 0,-206 286 20 0 0,139-186 36 0 0,419-598-578 0 0,-663 925 457 0 0,-22 34 8 0 0,-4 7 53 0 0,-7 13 117 0 0,-70 93 588 0 0,47-70-686 0 0,-787 1155-80 0 0,459-600 337 0 0,320-529-115 0 0,37-64-148 0 0,0 1 1 0 0,0 0-1 0 0,0 0 1 0 0,0-1 0 0 0,0 1-1 0 0,0 0 1 0 0,1 0-1 0 0,-1 0 1 0 0,1 0 0 0 0,-1 0-1 0 0,1 0 1 0 0,0 0 0 0 0,0 2-1 0 0,2-5-27 0 0,0-1 0 0 0,0 1 1 0 0,1-1-1 0 0,-1 1 0 0 0,0-1 0 0 0,0 0 0 0 0,-1 0 0 0 0,4-4 0 0 0,0 1-12 0 0,183-187-195 0 0,413-436 412 0 0,-384 388-129 0 0,174-188-326 0 0,-353 389 97 0 0,-35 35 146 0 0,6-3-211 0 0,-8 7 237 0 0,-1 1 0 0 0,0-1 1 0 0,0 1-1 0 0,1-1 1 0 0,-1 1-1 0 0,0-1 0 0 0,0 1 1 0 0,0-1-1 0 0,0 1 1 0 0,0 0-1 0 0,0-1 0 0 0,0 1 1 0 0,0-1-1 0 0,0 1 1 0 0,0-1-1 0 0,0 1 0 0 0,0-1 1 0 0,0 1-1 0 0,0-1 1 0 0,-1 1-1 0 0,1-1 0 0 0,0 1 1 0 0,0-1-1 0 0,-1 1 1 0 0,-2 13 110 0 0,-2-1 1 0 0,1 0 0 0 0,-2-1 0 0 0,-9 18-1 0 0,-35 51-38 0 0,13-23-57 0 0,-20 35 22 0 0,-245 403 264 0 0,93-174-180 0 0,64-104 28 0 0,144-216-135 0 0,-8 11 76 0 0,7-11-51 0 0,6-10-27 0 0,15-26-130 0 0,2 1 1 0 0,2 1-1 0 0,49-54 1 0 0,-14 18 208 0 0,-46 53-69 0 0,559-712 76 0 0,-498 629-143 0 0,-70 97-93 0 0,-3 6 89 0 0,-5 12 54 0 0,-15 24 127 0 0,-3-1-1 0 0,-1-2 1 0 0,-40 49-1 0 0,25-34-115 0 0,-390 512 392 0 0,407-538-383 0 0,-100 135 115 0 0,115-149-107 0 0,6-9-27 0 0,4-6-42 0 0,263-284-553 0 0,-127 140 762 0 0,-93 97-169 0 0,40-44-26 0 0,105-87 0 0 0,-158 157 3 0 0,-32 22 23 0 0,-1 1 0 0 0,0 0 0 0 0,1-1 0 0 0,-1 1 0 0 0,1 0 0 0 0,-1 0 0 0 0,0-1 0 0 0,1 1 0 0 0,-1 0 0 0 0,1 0 0 0 0,-1 0 0 0 0,1-1 0 0 0,-1 1 0 0 0,0 0-1 0 0,1 0 1 0 0,-1 0 0 0 0,1 0 0 0 0,-1 0 0 0 0,1 0 0 0 0,-1 0 0 0 0,1 0 0 0 0,-1 0 0 0 0,1 0 0 0 0,-1 1 0 0 0,1-1 0 0 0,-1 0 0 0 0,1 0 0 0 0,-1 0 0 0 0,0 0 0 0 0,1 1 0 0 0,-1-1 0 0 0,1 1 0 0 0,1 16-84 0 0,-2-13 98 0 0,0 4 44 0 0,-1 1 0 0 0,0-1 0 0 0,0 1 0 0 0,-1-1-1 0 0,0 0 1 0 0,-1 1 0 0 0,-5 11 0 0 0,-33 55 71 0 0,19-38-80 0 0,-73 125 287 0 0,-21 38-75 0 0,114-196-269 0 0,-5 8 23 0 0,11-25-159 0 0,10-14 40 0 0,1 0-1 0 0,1 1 1 0 0,39-48 0 0 0,-39 52 101 0 0,143-165 65 0 0,-154 182-57 0 0,-1 0-10 0 0,1 0-1 0 0,-1 0 1 0 0,1 1-1 0 0,0 0 1 0 0,0 0 0 0 0,0 0-1 0 0,11-5 1 0 0,-16 9 3 0 0,0 0 0 0 0,0 0 0 0 0,1 0 0 0 0,-1 0 0 0 0,0 0 0 0 0,0 0-1 0 0,0 0 1 0 0,1 0 0 0 0,-1 0 0 0 0,0 0 0 0 0,0 0 0 0 0,0 0 0 0 0,1 0 0 0 0,-1 0 0 0 0,0 0 0 0 0,0 0 0 0 0,0 0 0 0 0,1 0 0 0 0,-1 0 0 0 0,0 0 0 0 0,0 0 0 0 0,0 0 0 0 0,1 0 0 0 0,-1 1 0 0 0,0-1 0 0 0,0 0 0 0 0,0 0 0 0 0,0 0 0 0 0,1 0 0 0 0,-1 0 0 0 0,0 1 0 0 0,0-1 0 0 0,0 0 0 0 0,0 0 0 0 0,0 0 0 0 0,0 1 0 0 0,0-1 0 0 0,3 12-28 0 0,-3 18 186 0 0,-1-26-135 0 0,0 7 24 0 0,0 0-1 0 0,-1-1 1 0 0,0 1-1 0 0,-1-1 1 0 0,0 0-1 0 0,-5 11 1 0 0,-32 58 154 0 0,4-8-97 0 0,31-59-224 0 0,6-14 83 0 0,-1-1-1 0 0,1 1 0 0 0,-1 0 1 0 0,1 0-1 0 0,0 0 1 0 0,0 0-1 0 0,0-1 1 0 0,0 1-1 0 0,0 0 1 0 0,0 1-1 0 0,1-1 0 0 0,1-3 1 0 0,24-24-134 0 0,-16 18 208 0 0,8-9 9 0 0,-7 6-139 0 0,2 0 0 0 0,-1 1 1 0 0,2 0-1 0 0,19-14 0 0 0,-32 26-94 0 0,0 0 1 0 0,0 0-1 0 0,0 1 0 0 0,1-1 0 0 0,-1 0 0 0 0,0 1 0 0 0,0-1 0 0 0,0 1 0 0 0,5-1 0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1.958"/>
    </inkml:context>
    <inkml:brush xml:id="br0">
      <inkml:brushProperty name="width" value="0.05" units="cm"/>
      <inkml:brushProperty name="height" value="0.05" units="cm"/>
      <inkml:brushProperty name="color" value="#E71224"/>
    </inkml:brush>
  </inkml:definitions>
  <inkml:trace contextRef="#ctx0" brushRef="#br0">0 213 496 0 0,'0'0'14276'0'0,"20"0"-14049"0"0,115 0 197 0 0,-106-2-92 0 0,1-2 0 0 0,-1 0 1 0 0,-1-2-1 0 0,53-17 0 0 0,105-54 324 0 0,-150 62-617 0 0,-23 9-46 0 0,39-17-53 0 0,80-25-1 0 0,-131 48-33 0 0,-1 0-1 0 0,0 0 1 0 0,0 0 0 0 0,0 0 0 0 0,0 0-1 0 0,1 0 1 0 0,-1 0 0 0 0,0 0 0 0 0,0 0 0 0 0,0 0-1 0 0,0-1 1 0 0,0 1 0 0 0,1 0 0 0 0,-1 0 0 0 0,0 0-1 0 0,0 0 1 0 0,0 0 0 0 0,0 0 0 0 0,0-1-1 0 0,0 1 1 0 0,0 0 0 0 0,0 0 0 0 0,1 0 0 0 0,-1 0-1 0 0,0-1 1 0 0,0 1 0 0 0,0 0 0 0 0,0 0 0 0 0,0 0-1 0 0,0-1 1 0 0,0 1 0 0 0,0 0 0 0 0,0 0-1 0 0,0 0 1 0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2.822"/>
    </inkml:context>
    <inkml:brush xml:id="br0">
      <inkml:brushProperty name="width" value="0.05" units="cm"/>
      <inkml:brushProperty name="height" value="0.05" units="cm"/>
      <inkml:brushProperty name="color" value="#E71224"/>
    </inkml:brush>
  </inkml:definitions>
  <inkml:trace contextRef="#ctx0" brushRef="#br0">0 76 7652 0 0,'0'0'5989'0'0,"5"-3"-5832"0"0,14-5 105 0 0,1 2-1 0 0,-1 0 0 0 0,1 1 0 0 0,28-4 0 0 0,7-2-158 0 0,-23 4-59 0 0,-11 1-21 0 0,0 1 0 0 0,1 1 0 0 0,34-1 0 0 0,-55 24 687 0 0,-1-7-415 0 0,0-8-259 0 0,1 1 0 0 0,-1-1 0 0 0,0 1 1 0 0,-1-1-1 0 0,1 1 0 0 0,-1-1 0 0 0,0 1 0 0 0,0-1 0 0 0,0 1 1 0 0,-1-1-1 0 0,1 0 0 0 0,-1 0 0 0 0,0 0 0 0 0,-3 5 0 0 0,-21 21-64 0 0,-1 0-1 0 0,-1-2 1 0 0,-2-2 0 0 0,0 0-1 0 0,-43 26 1 0 0,65-46-1456 0 0,0-1 0 0 0,-1 0 0 0 0,-13 6 0 0 0,1-5-6115 0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4.887"/>
    </inkml:context>
    <inkml:brush xml:id="br0">
      <inkml:brushProperty name="width" value="0.05" units="cm"/>
      <inkml:brushProperty name="height" value="0.05" units="cm"/>
      <inkml:brushProperty name="color" value="#E71224"/>
    </inkml:brush>
  </inkml:definitions>
  <inkml:trace contextRef="#ctx0" brushRef="#br0">0 0 11285 0 0,'0'0'1556'0'0,"3"17"-1372"0"0,0 3-96 0 0,2 13 74 0 0,12 40 1 0 0,46 132 635 0 0,-60-197-768 0 0,-1-1 1 0 0,0 1-1 0 0,-1 0 1 0 0,2 13-1 0 0,-3-21-273 0 0,-1-8-6184 0 0,-2-4 38 0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5.525"/>
    </inkml:context>
    <inkml:brush xml:id="br0">
      <inkml:brushProperty name="width" value="0.05" units="cm"/>
      <inkml:brushProperty name="height" value="0.05" units="cm"/>
      <inkml:brushProperty name="color" value="#E71224"/>
    </inkml:brush>
  </inkml:definitions>
  <inkml:trace contextRef="#ctx0" brushRef="#br0">4 92 8084 0 0,'0'0'4572'0'0,"0"-3"-4179"0"0,-1 1-399 0 0,0-1 149 0 0,1 1 0 0 0,-1-1 0 0 0,1 1 0 0 0,-1-1-1 0 0,1 0 1 0 0,0 1 0 0 0,0-1 0 0 0,0 0 0 0 0,1 1 0 0 0,-1-1-1 0 0,0 1 1 0 0,3-6 0 0 0,1 4-87 0 0,1 0 0 0 0,-1 0 0 0 0,1 0-1 0 0,1 1 1 0 0,-1-1 0 0 0,0 1 0 0 0,1 1 0 0 0,0-1 0 0 0,-1 1-1 0 0,1 0 1 0 0,0 0 0 0 0,0 1 0 0 0,9-2 0 0 0,9 0-82 0 0,0 1 0 0 0,26 0 0 0 0,-38 2 33 0 0,1 0 0 0 0,18 4 0 0 0,-25-3 15 0 0,-1 1 0 0 0,1 0-1 0 0,0 0 1 0 0,-1 0 0 0 0,0 1 0 0 0,1 0-1 0 0,5 4 1 0 0,-5-3 47 0 0,-1-1-1 0 0,0 1 1 0 0,0 1 0 0 0,0-1-1 0 0,0 1 1 0 0,5 7-1 0 0,-8-9-38 0 0,0 1 0 0 0,0-1 0 0 0,-1 0 0 0 0,1 1 0 0 0,-1-1 0 0 0,1 1 0 0 0,-1 0 0 0 0,0-1 0 0 0,0 1 0 0 0,-1 0 0 0 0,1 0 0 0 0,-1 5 0 0 0,0 41 448 0 0,0-49-463 0 0,-1 1 1 0 0,1-1 0 0 0,-1 1 0 0 0,1-1-1 0 0,-1 1 1 0 0,0-1 0 0 0,0 1 0 0 0,1-1 0 0 0,-1 0-1 0 0,0 1 1 0 0,0-1 0 0 0,-1 0 0 0 0,1 0-1 0 0,0 0 1 0 0,0 0 0 0 0,0 0 0 0 0,-1 0 0 0 0,1 0-1 0 0,0 0 1 0 0,-1 0 0 0 0,1-1 0 0 0,-1 1-1 0 0,1-1 1 0 0,-1 1 0 0 0,0-1 0 0 0,-1 1 0 0 0,-10 2 52 0 0,1 0 0 0 0,-16 2 0 0 0,20-4-53 0 0,-64 5-332 0 0,42-5-3674 0 0</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6.462"/>
    </inkml:context>
    <inkml:brush xml:id="br0">
      <inkml:brushProperty name="width" value="0.05" units="cm"/>
      <inkml:brushProperty name="height" value="0.05" units="cm"/>
      <inkml:brushProperty name="color" value="#E71224"/>
    </inkml:brush>
  </inkml:definitions>
  <inkml:trace contextRef="#ctx0" brushRef="#br0">31 77 6707 0 0,'0'0'2793'0'0,"0"14"-1613"0"0,-1-4-448 0 0,1-8-594 0 0,0 1 0 0 0,0 0 0 0 0,0 0 1 0 0,0-1-1 0 0,1 1 0 0 0,-1 0 0 0 0,1-1 0 0 0,0 4 0 0 0,0-5-133 0 0,0 1-1 0 0,0-1 0 0 0,0 0 0 0 0,0 0 1 0 0,0 0-1 0 0,0 0 0 0 0,0 0 1 0 0,0 0-1 0 0,1 0 0 0 0,-1-1 0 0 0,0 1 1 0 0,0 0-1 0 0,1-1 0 0 0,-1 1 0 0 0,0-1 1 0 0,1 1-1 0 0,-1-1 0 0 0,3 1 0 0 0,9 1 185 0 0,0-1-1 0 0,0 0 0 0 0,0 0 0 0 0,0-1 0 0 0,20-3 0 0 0,-30 2-162 0 0,0 1-1 0 0,0-1 1 0 0,0 0 0 0 0,0 0 0 0 0,0 0-1 0 0,0 0 1 0 0,0-1 0 0 0,0 1 0 0 0,-1-1-1 0 0,1 0 1 0 0,0 0 0 0 0,-1 0 0 0 0,0 0-1 0 0,1 0 1 0 0,-1 0 0 0 0,0 0 0 0 0,0-1-1 0 0,0 1 1 0 0,0-1 0 0 0,1-3-1 0 0,-1 3 13 0 0,0-1 1 0 0,-1 1-1 0 0,0-1 0 0 0,1 0 0 0 0,-1 1 0 0 0,0-1 0 0 0,-1 0 0 0 0,1 0 0 0 0,-1 0 0 0 0,0 0 0 0 0,0 0 0 0 0,0 0 0 0 0,0 0 0 0 0,0 1 0 0 0,-1-1 0 0 0,-1-5 0 0 0,1 7-22 0 0,0 1-1 0 0,0-1 1 0 0,0 1-1 0 0,0-1 1 0 0,0 1 0 0 0,-1 0-1 0 0,1-1 1 0 0,0 1-1 0 0,-1 0 1 0 0,1 0-1 0 0,-1 0 1 0 0,1 0 0 0 0,-1 0-1 0 0,1 0 1 0 0,-1 0-1 0 0,0 0 1 0 0,-2 0-1 0 0,-33-10 148 0 0,29 10-86 0 0,1-1 0 0 0,-1 1-1 0 0,1 1 1 0 0,-1-1 0 0 0,1 1 0 0 0,-14 2 0 0 0,17-1-79 0 0,0 0 0 0 0,0 0 1 0 0,0 0-1 0 0,0 0 0 0 0,0 1 0 0 0,0-1 1 0 0,1 1-1 0 0,-1 0 0 0 0,1 1 1 0 0,-1-1-1 0 0,1 0 0 0 0,0 1 1 0 0,0 0-1 0 0,-3 3 0 0 0,2-2-2 0 0,1 0-1 0 0,0 0 1 0 0,1 0-1 0 0,-1 0 1 0 0,0 1 0 0 0,1-1-1 0 0,0 1 1 0 0,0-1-1 0 0,1 1 1 0 0,-2 6-1 0 0,1 1-21 0 0,1 1-1 0 0,0 22 1 0 0,1-33 18 0 0,0-1 3 0 0,0 0 0 0 0,0 0 0 0 0,0-1 1 0 0,1 1-1 0 0,-1 0 0 0 0,0 0 0 0 0,0-1 0 0 0,0 1 0 0 0,1 0 0 0 0,-1-1 0 0 0,1 1 0 0 0,-1 0 0 0 0,0-1 0 0 0,1 1 0 0 0,-1 0 0 0 0,1-1 0 0 0,-1 1 0 0 0,1-1 0 0 0,-1 1 0 0 0,1-1 1 0 0,0 1-1 0 0,-1-1 0 0 0,2 1 0 0 0,0 0-6 0 0,1 0 0 0 0,-1 0 0 0 0,1 0 0 0 0,-1 0 0 0 0,1-1 0 0 0,-1 1 0 0 0,4 0 0 0 0,6-1-18 0 0,0 1-1 0 0,16-2 0 0 0,-24 0 26 0 0,5 0 14 0 0,-1 0 0 0 0,1-1 0 0 0,-1 0 0 0 0,0-1-1 0 0,0 0 1 0 0,0 0 0 0 0,0-1 0 0 0,0 0-1 0 0,8-5 1 0 0,5-6 72 0 0,35-30 0 0 0,-54 44-74 0 0,-1 0-4 0 0,-1 1 1 0 0,1-1-1 0 0,0 1 0 0 0,-1-1 1 0 0,1 1-1 0 0,-1-1 0 0 0,1 0 1 0 0,-1 1-1 0 0,1-1 0 0 0,-1 0 1 0 0,1 1-1 0 0,-1-1 0 0 0,1 0 0 0 0,-1 1 1 0 0,0-1-1 0 0,1 0 0 0 0,-1 0 1 0 0,0 0-1 0 0,0 1 0 0 0,0-3 1 0 0,0 3-27 0 0,7 16-362 0 0,-6-13 349 0 0,1 3-47 0 0,0-1 0 0 0,1 1 0 0 0,0 0-1 0 0,6 10 1 0 0,-8-15-191 0 0,1 1 1 0 0,-1-1-1 0 0,0 1 0 0 0,1-1 0 0 0,-1 1 0 0 0,1-1 1 0 0,0 0-1 0 0,-1 0 0 0 0,1 0 0 0 0,0 0 1 0 0,-1 0-1 0 0,1 0 0 0 0,0-1 0 0 0,0 1 1 0 0,0-1-1 0 0,0 1 0 0 0,0-1 0 0 0,0 1 1 0 0,4-1-1 0 0,3 0-3107 0 0,-1 0-2338 0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119"/>
    </inkml:context>
    <inkml:brush xml:id="br0">
      <inkml:brushProperty name="width" value="0.05" units="cm"/>
      <inkml:brushProperty name="height" value="0.05" units="cm"/>
      <inkml:brushProperty name="color" value="#E71224"/>
    </inkml:brush>
  </inkml:definitions>
  <inkml:trace contextRef="#ctx0" brushRef="#br0">1 23 2433 0 0,'0'0'9167'0'0,"0"3"-9162"0"0,0 26-7 0 0,1 47 332 0 0,-1-73-325 0 0,1-1 0 0 0,0 1 0 0 0,0 0 0 0 0,0-1 0 0 0,0 1 0 0 0,0 0 0 0 0,1-1 0 0 0,2 5 0 0 0,1 0 1 0 0,-5-7 41 0 0,0 0 0 0 0,0 0-1 0 0,0 0 1 0 0,0 0 0 0 0,0 0 0 0 0,0 0-1 0 0,0 0 1 0 0,0 0 0 0 0,0 1-1 0 0,0-1 1 0 0,0 0 0 0 0,0 0 0 0 0,0 0-1 0 0,0 0 1 0 0,0 0 0 0 0,0 0 0 0 0,0 0-1 0 0,0 0 1 0 0,0 0 0 0 0,0 0 0 0 0,0 1-1 0 0,1-1 1 0 0,-1 0 0 0 0,0 0-1 0 0,0 0 1 0 0,0 0 0 0 0,0 0 0 0 0,0 0-1 0 0,0 0 1 0 0,0 0 0 0 0,0 0 0 0 0,0 0-1 0 0,1 0 1 0 0,-1 0 0 0 0,0 0-1 0 0,0 0 1 0 0,0 0 0 0 0,0 0 0 0 0,0 0-1 0 0,0 0 1 0 0,0 0 0 0 0,0 0 0 0 0,1 0-1 0 0,-1 0 1 0 0,0 0 0 0 0,0 0 0 0 0,0 0-1 0 0,0 0 1 0 0,0 0 0 0 0,0 0-1 0 0,0-1 1 0 0,2-6 981 0 0,-1-12-782 0 0,-1 18-185 0 0,-1-27 14 0 0,0 20-77 0 0,0-1-1 0 0,1 1 1 0 0,0-1-1 0 0,0 1 1 0 0,1-1-1 0 0,0 1 1 0 0,4-13 0 0 0,-4 19 1 0 0,0 0 0 0 0,0 0 1 0 0,1 0-1 0 0,-1 0 1 0 0,1 1-1 0 0,-1-1 1 0 0,1 0-1 0 0,0 1 1 0 0,0-1-1 0 0,0 1 1 0 0,-1-1-1 0 0,1 1 1 0 0,1 0-1 0 0,-1 0 0 0 0,0 0 1 0 0,0 0-1 0 0,0 0 1 0 0,1 1-1 0 0,-1-1 1 0 0,3 0-1 0 0,17-1-7428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51.647"/>
    </inkml:context>
    <inkml:brush xml:id="br0">
      <inkml:brushProperty name="width" value="0.35" units="cm"/>
      <inkml:brushProperty name="height" value="0.35" units="cm"/>
    </inkml:brush>
  </inkml:definitions>
  <inkml:trace contextRef="#ctx0" brushRef="#br0">4294 1798 8996 0 0,'0'0'691'0'0,"1"-2"-486"0"0,-1 1-1 0 0,0-1 1 0 0,0 0 0 0 0,0 0-1 0 0,0 0 1 0 0,0 1-1 0 0,0-1 1 0 0,-1 0 0 0 0,1 0-1 0 0,0 1 1 0 0,-1-1-1 0 0,-1-2 1 0 0,-8 2 97 0 0,-1 0 0 0 0,0 1 0 0 0,1 0 0 0 0,-1 1 0 0 0,-12 1-1 0 0,-4 0-23 0 0,-55 1 458 0 0,-137 23 0 0 0,-81 34-698 0 0,117-21-1385 0 0,140-29 1106 0 0,-152 25 669 0 0,152-29-297 0 0,0-1-1 0 0,-70-5 1 0 0,110 1-130 0 0,0-1 1 0 0,0 0-1 0 0,0 0 1 0 0,0 0 0 0 0,0 0-1 0 0,0 0 1 0 0,0 0-1 0 0,0-1 1 0 0,1 1-1 0 0,-1-1 1 0 0,1 0 0 0 0,-1 0-1 0 0,1 0 1 0 0,0 0-1 0 0,-3-3 1 0 0,3 3-6 0 0,0-1 1 0 0,-1 1 0 0 0,1 0-1 0 0,-1-1 1 0 0,0 1-1 0 0,0 0 1 0 0,0 1-1 0 0,0-1 1 0 0,0 1-1 0 0,0-1 1 0 0,0 1-1 0 0,0 0 1 0 0,-1 0-1 0 0,-3 0 1 0 0,-45-2-102 0 0,-77 6-1 0 0,46 6 384 0 0,-138 33 0 0 0,65-10 153 0 0,131-27-389 0 0,3-1 131 0 0,-1-1 1 0 0,-33 1 0 0 0,56-5-161 0 0,-1 0 0 0 0,1 0 0 0 0,0 0-1 0 0,0 0 1 0 0,0 0 0 0 0,0 0 0 0 0,0 0 0 0 0,0 0-1 0 0,1 0 1 0 0,-1 0 0 0 0,0 0 0 0 0,0-1 0 0 0,1 1 0 0 0,0-1-1 0 0,3-4-17 0 0,1-1 1 0 0,0 1-1 0 0,1 0 0 0 0,-1 0 0 0 0,1 0 0 0 0,1 1 0 0 0,-1 0 0 0 0,1 0 1 0 0,11-6-1 0 0,-2 0-5 0 0,19-12 21 0 0,-14 9 5 0 0,0-1 1 0 0,32-30 0 0 0,-41 27 13 0 0,-12 18-28 0 0,0-1-1 0 0,0 1 1 0 0,1 0 0 0 0,-1-1-1 0 0,0 1 1 0 0,0-1-1 0 0,0 1 1 0 0,0-1 0 0 0,0 1-1 0 0,0-1 1 0 0,0 1-1 0 0,0 0 1 0 0,0-1 0 0 0,0 1-1 0 0,-1-1 1 0 0,1 1-1 0 0,0-1 1 0 0,0 1 0 0 0,0 0-1 0 0,0-1 1 0 0,-1 1 0 0 0,1 0-1 0 0,0-1 1 0 0,0 1-1 0 0,-1-1 1 0 0,1 1 0 0 0,0 0-1 0 0,-1 0 1 0 0,1-1-1 0 0,0 1 1 0 0,-1 0 0 0 0,1 0-1 0 0,-1-1 1 0 0,1 1-1 0 0,0 0 1 0 0,-1 0 0 0 0,1 0-1 0 0,-1 0 1 0 0,1-1-1 0 0,0 1 1 0 0,-1 0 0 0 0,1 0-1 0 0,-1 0 1 0 0,1 0-1 0 0,-1 0 1 0 0,1 0 0 0 0,-1 0-1 0 0,1 0 1 0 0,0 0-1 0 0,-2 1 1 0 0,-47-4 11 0 0,-1 3-1 0 0,1 2 1 0 0,-88 15 0 0 0,-126 52 664 0 0,263-69-669 0 0,-1 0 0 0 0,1 0-1 0 0,-1 0 1 0 0,1 0-1 0 0,0 1 1 0 0,-1-1-1 0 0,1 0 1 0 0,-1 0 0 0 0,1 0-1 0 0,0-1 1 0 0,-1 1-1 0 0,1 0 1 0 0,-1 0 0 0 0,1 0-1 0 0,0 0 1 0 0,-1 0-1 0 0,1 0 1 0 0,-1 0 0 0 0,1-1-1 0 0,0 1 1 0 0,-1 0-1 0 0,1 0 1 0 0,0-1-1 0 0,-1 1 1 0 0,1 0 0 0 0,0 0-1 0 0,0-1 1 0 0,-1 1-1 0 0,1 0 1 0 0,0-1 0 0 0,0 1-1 0 0,-1 0 1 0 0,1-1-1 0 0,0 0 1 0 0,-4-20-7 0 0,4 14-33 0 0,1 0 0 0 0,-1 0 0 0 0,1-1 0 0 0,3-9 0 0 0,-2 13 9 0 0,0-2 11 0 0,0 1 0 0 0,-1-1-1 0 0,1 1 1 0 0,0-7 0 0 0,-2 11 12 0 0,0 0 1 0 0,0 0 0 0 0,0 1 0 0 0,1-1-1 0 0,-1 0 1 0 0,0 0 0 0 0,-1 0-1 0 0,1 1 1 0 0,0-1 0 0 0,0 0 0 0 0,0 0-1 0 0,0 1 1 0 0,0-1 0 0 0,-1 0-1 0 0,1 0 1 0 0,0 1 0 0 0,-1-1-1 0 0,1 0 1 0 0,-1 1 0 0 0,1-1 0 0 0,-1 0-1 0 0,1 1 1 0 0,-1-1 0 0 0,1 0-1 0 0,-1 1 1 0 0,1-1 0 0 0,-1 1 0 0 0,0 0-1 0 0,1-1 1 0 0,-1 1 0 0 0,0-1-1 0 0,1 1 1 0 0,-1 0 0 0 0,0-1 0 0 0,0 1-1 0 0,1 0 1 0 0,-1 0 0 0 0,0 0-1 0 0,-1-1 1 0 0,-26 1-82 0 0,-1 0 0 0 0,0 2 0 0 0,1 1-1 0 0,-45 10 1 0 0,-113 40-65 0 0,104-28 245 0 0,-58 14 189 0 0,135-38-310 0 0,12-7-92 0 0,158-87 132 0 0,-101 59-108 0 0,-61 33 55 0 0,-7 3-109 0 0,-39 21-48 0 0,-146 89 280 0 0,169-93-69 0 0,20-19-23 0 0,0 0 1 0 0,-1 1 0 0 0,1-1-1 0 0,0 1 1 0 0,0-1 0 0 0,-1 1-1 0 0,1-1 1 0 0,0 1 0 0 0,0-1-1 0 0,0 1 1 0 0,-1-1 0 0 0,1 1 0 0 0,0 0-1 0 0,0-1 1 0 0,0 1 0 0 0,0-1-1 0 0,0 1 1 0 0,0-1 0 0 0,0 2-1 0 0,1-2-7 0 0,-1 0 0 0 0,0 1 0 0 0,1-1 0 0 0,-1 1 0 0 0,1-1 0 0 0,-1 0 0 0 0,1 1 0 0 0,-1-1 0 0 0,1 0 0 0 0,-1 1 0 0 0,1-1 0 0 0,-1 0 0 0 0,1 0 0 0 0,-1 0 0 0 0,1 1 0 0 0,-1-1 0 0 0,1 0 0 0 0,-1 0 0 0 0,1 0 0 0 0,0 0 0 0 0,-1 0 0 0 0,1 0 0 0 0,-1 0 0 0 0,2 0 0 0 0,61-1 35 0 0,0-2-1 0 0,0-3 1 0 0,68-16-1 0 0,189-55 96 0 0,-274 64-129 0 0,-2 4 14 0 0,-31 7 13 0 0,0-1-1 0 0,0 0 1 0 0,-1-1 0 0 0,1-1-1 0 0,12-6 1 0 0,-23 11 65 0 0,-19 0-3 0 0,1 1 1 0 0,0 0-1 0 0,-1 2 0 0 0,1 0 0 0 0,-22 7 0 0 0,4 1-68 0 0,-43 22 0 0 0,68-29-23 0 0,-25 13 58 0 0,33-16-51 0 0,0 0 0 0 0,-1 0 0 0 0,1 0 0 0 0,0 0-1 0 0,0 0 1 0 0,0 0 0 0 0,0 1 0 0 0,0-1 0 0 0,0 0-1 0 0,0 0 1 0 0,0 1 0 0 0,1-1 0 0 0,-1 1-1 0 0,0-1 1 0 0,1 0 0 0 0,-1 1 0 0 0,1-1 0 0 0,0 1-1 0 0,-1 0 1 0 0,1 1 0 0 0,0-3-9 0 0,0 1 0 0 0,1 0 0 0 0,-1 0 1 0 0,0-1-1 0 0,1 1 0 0 0,-1-1 0 0 0,1 1 0 0 0,-1 0 1 0 0,0-1-1 0 0,1 1 0 0 0,-1-1 0 0 0,1 1 0 0 0,0-1 0 0 0,-1 1 1 0 0,1-1-1 0 0,-1 1 0 0 0,1-1 0 0 0,0 0 0 0 0,-1 1 0 0 0,1-1 1 0 0,0 0-1 0 0,0 1 0 0 0,-1-1 0 0 0,1 0 0 0 0,0 0 1 0 0,-1 0-1 0 0,1 0 0 0 0,0 0 0 0 0,1 0 0 0 0,30 2-57 0 0,-23-2 53 0 0,0 0 16 0 0,44 3 24 0 0,0-2 0 0 0,103-12 0 0 0,-112 4-8 0 0,-16 3 6 0 0,32-9-1 0 0,-59 13 16 0 0,-168-1 67 0 0,-380 14-170 0 0,439-4 118 0 0,-447 23 311 0 0,554-32-358 0 0,0 0-1 0 0,0 0 0 0 0,1 0 1 0 0,-1-1-1 0 0,0 1 0 0 0,1 0 1 0 0,-1-1-1 0 0,1 1 0 0 0,-1 0 1 0 0,0-1-1 0 0,1 1 0 0 0,-1-1 1 0 0,1 1-1 0 0,-1 0 0 0 0,1-1 1 0 0,-1 0-1 0 0,1 1 0 0 0,-1-1 1 0 0,1 1-1 0 0,-1-1 0 0 0,1 1 1 0 0,0-1-1 0 0,-1 0 0 0 0,1 1 1 0 0,0-1-1 0 0,0 0 0 0 0,0 0 1 0 0,-1 1-1 0 0,1-1 0 0 0,0 0 1 0 0,0 1-1 0 0,0-1 0 0 0,0 0 1 0 0,0 1-1 0 0,0-2 0 0 0,0-2-8 0 0,1 1 0 0 0,-1-1 0 0 0,0 0-1 0 0,1 1 1 0 0,0-1 0 0 0,2-5-1 0 0,-1 4-2 0 0,1 0-1 0 0,-1 1 0 0 0,1-1 0 0 0,0 0 1 0 0,1 1-1 0 0,-1 0 0 0 0,9-7 0 0 0,33-25-34 0 0,-35 28 30 0 0,11-7-1 0 0,-10 8-38 0 0,0-1 1 0 0,-1-1 0 0 0,1 1-1 0 0,8-12 1 0 0,-18 15 24 0 0,-8 5 65 0 0,3 0-43 0 0,-8 2-45 0 0,-1-1 0 0 0,1 2 1 0 0,0 0-1 0 0,0 0 1 0 0,-16 7-1 0 0,-63 32-99 0 0,60-27 147 0 0,-232 118 470 0 0,256-130-445 0 0,5-1-20 0 0,-1 0 0 0 0,1-1-1 0 0,-1 0 1 0 0,0 1 0 0 0,0-1-1 0 0,0 0 1 0 0,0 0 0 0 0,-6 0 0 0 0,9-7-10 0 0,1 0 20 0 0,0 1 1 0 0,0-1 0 0 0,0 0-1 0 0,1 1 1 0 0,0-1 0 0 0,0 1-1 0 0,1 0 1 0 0,0 0 0 0 0,0 0-1 0 0,4-5 1 0 0,-3 2-9 0 0,1 0 0 0 0,-1 0 0 0 0,0 0 0 0 0,2-8 1 0 0,-2 3 0 0 0,-1 1 1 0 0,0 0 0 0 0,-1-1-1 0 0,0 1 1 0 0,-1-1 0 0 0,-1 1-1 0 0,-1-20 1 0 0,0 29-6 0 0,0 0 0 0 0,0 1 0 0 0,0-1 0 0 0,0 0 0 0 0,0 1 0 0 0,-1-1 0 0 0,1 1 0 0 0,-1 0 0 0 0,0 0 0 0 0,0-1 0 0 0,0 1 0 0 0,0 0 0 0 0,0 0 0 0 0,0 1 0 0 0,0-1 0 0 0,-1 0 0 0 0,1 1 0 0 0,0-1 0 0 0,-1 1 0 0 0,0 0 0 0 0,1 0 0 0 0,-1 0 0 0 0,-4-1 0 0 0,-4-1-14 0 0,-1 0-1 0 0,1 1 1 0 0,-1 1-1 0 0,-17-1 1 0 0,11 1-2 0 0,-1 0 1 0 0,1 2-1 0 0,-1 0 0 0 0,1 1 1 0 0,0 1-1 0 0,0 1 0 0 0,-30 10 1 0 0,27-4 6 0 0,15-7 11 0 0,1 0 0 0 0,-1 0 1 0 0,0-1-1 0 0,-9 3 0 0 0,16-14-20 0 0,3-1 18 0 0,0 1 0 0 0,1 0 0 0 0,0 0 0 0 0,0 0 0 0 0,10-11 0 0 0,9-16 24 0 0,-14 20-25 0 0,36-67 18 0 0,-42 75-14 0 0,0-1-1 0 0,-1 0 0 0 0,0-1 0 0 0,-1 1 0 0 0,0 0 1 0 0,0-1-1 0 0,0-15 0 0 0,-2 24-4 0 0,0 0 0 0 0,1 1 0 0 0,-1-1-1 0 0,0 0 1 0 0,0 0 0 0 0,0 1 0 0 0,-1-1 0 0 0,1 0-1 0 0,0 1 1 0 0,0-1 0 0 0,0 0 0 0 0,0 1 0 0 0,-1-1-1 0 0,1 0 1 0 0,0 1 0 0 0,-1-1 0 0 0,1 1 0 0 0,0-1-1 0 0,-1 0 1 0 0,1 1 0 0 0,-1-1 0 0 0,1 1 0 0 0,-1-1-1 0 0,1 1 1 0 0,-1 0 0 0 0,1-1 0 0 0,-1 1 0 0 0,1-1-1 0 0,-1 1 1 0 0,0 0 0 0 0,1-1 0 0 0,-1 1 0 0 0,0 0 0 0 0,1 0-1 0 0,-1 0 1 0 0,0-1 0 0 0,1 1 0 0 0,-1 0 0 0 0,0 0-1 0 0,1 0 1 0 0,-1 0 0 0 0,0 0 0 0 0,1 0 0 0 0,-1 1-1 0 0,0-1 1 0 0,1 0 0 0 0,-1 0 0 0 0,0 0 0 0 0,1 0-1 0 0,-1 1 1 0 0,0-1 0 0 0,0 1 0 0 0,-5 1-44 0 0,0 1 1 0 0,0 0-1 0 0,0 1 1 0 0,-8 5-1 0 0,-6 6 27 0 0,1 1 0 0 0,1 0 0 0 0,1 2 1 0 0,0 0-1 0 0,-15 22 0 0 0,24-29 20 0 0,0 0 1 0 0,1 1-1 0 0,0 1 0 0 0,1-1 0 0 0,0 1 1 0 0,1 0-1 0 0,1 0 0 0 0,0 1 1 0 0,1-1-1 0 0,-3 23 0 0 0,6-30-1 0 0,-2 8 0 0 0,2 1-1 0 0,1 18 1 0 0,-1-29 3 0 0,1 1 1 0 0,0-1-1 0 0,0 0 0 0 0,0 0 0 0 0,1 0 0 0 0,-1 1 0 0 0,1-1 1 0 0,0 0-1 0 0,0-1 0 0 0,0 1 0 0 0,1 0 0 0 0,2 3 0 0 0,2 0-7 0 0,0 0 1 0 0,1 0-1 0 0,0-1 0 0 0,0 0 0 0 0,1 0 0 0 0,-1-1 0 0 0,1 0 0 0 0,1 0 0 0 0,-1-1 0 0 0,0 0 0 0 0,17 3 0 0 0,-11-3 10 0 0,1-1 0 0 0,0-1-1 0 0,-1 0 1 0 0,1-1-1 0 0,0-1 1 0 0,29-3-1 0 0,-36 1 8 0 0,0 0 0 0 0,0-1 0 0 0,0 0 0 0 0,-1 0 0 0 0,1-1 0 0 0,-1 0 0 0 0,0 0 0 0 0,0-1 0 0 0,0 0 0 0 0,-1 0 0 0 0,1-1 0 0 0,-1 0 0 0 0,8-9 0 0 0,-8 7-1 0 0,0 0 0 0 0,-1 0 0 0 0,0 0 0 0 0,0-1 0 0 0,-1 0 0 0 0,0 0 0 0 0,0 0 0 0 0,-1-1 0 0 0,-1 0 0 0 0,1 0 0 0 0,2-16 0 0 0,-4 3 25 0 0,0-35 0 0 0,-2 48-15 0 0,0 8-21 0 0,0 0 0 0 0,1 0 0 0 0,-2 0-1 0 0,1 1 1 0 0,0-1 0 0 0,0 0 0 0 0,0 0 0 0 0,-1 0 0 0 0,1 0 0 0 0,-1 1 0 0 0,1-1 0 0 0,-1 0-1 0 0,0 1 1 0 0,0-1 0 0 0,0 0 0 0 0,0 1 0 0 0,0-1 0 0 0,0 1 0 0 0,0 0 0 0 0,0-1 0 0 0,-1 1-1 0 0,1 0 1 0 0,-1-1 0 0 0,1 1 0 0 0,-1 0 0 0 0,1 0 0 0 0,-1 0 0 0 0,1 1 0 0 0,-1-1 0 0 0,0 0-1 0 0,1 0 1 0 0,-1 1 0 0 0,0-1 0 0 0,0 1 0 0 0,0 0 0 0 0,1 0 0 0 0,-1-1 0 0 0,0 1 0 0 0,0 0-1 0 0,0 0 1 0 0,-3 1 0 0 0,4-1-6 0 0,-1 1 0 0 0,0-1 0 0 0,1 1 0 0 0,-1-1 0 0 0,0 1 0 0 0,1 0 0 0 0,-1 0-1 0 0,1-1 1 0 0,-1 1 0 0 0,1 0 0 0 0,-1 0 0 0 0,1 1 0 0 0,0-1 0 0 0,-1 0 0 0 0,1 0 0 0 0,0 1 0 0 0,0-1-1 0 0,0 1 1 0 0,-1 1 0 0 0,-15 34-35 0 0,12-25 44 0 0,-2 4 5 0 0,2 1 0 0 0,0-1 1 0 0,0 1-1 0 0,-2 29 1 0 0,2 69-111 0 0,5-114 98 0 0,0-1 1 0 0,0 0-1 0 0,0 1 0 0 0,1-1 0 0 0,-1 1 0 0 0,0-1 0 0 0,0 1 1 0 0,1-1-1 0 0,-1 0 0 0 0,0 1 0 0 0,0-1 0 0 0,1 0 1 0 0,-1 1-1 0 0,0-1 0 0 0,1 0 0 0 0,-1 0 0 0 0,1 1 1 0 0,-1-1-1 0 0,0 0 0 0 0,1 0 0 0 0,-1 1 0 0 0,1-1 1 0 0,-1 0-1 0 0,1 0 0 0 0,-1 0 0 0 0,0 0 0 0 0,1 0 0 0 0,-1 0 1 0 0,1 0-1 0 0,-1 0 0 0 0,1 0 0 0 0,-1 0 0 0 0,1 0 1 0 0,-1 0-1 0 0,1 0 0 0 0,0 0 0 0 0,1-1 7 0 0,-1 1 1 0 0,1 0-1 0 0,0 0 0 0 0,0-1 0 0 0,0 1 1 0 0,-1-1-1 0 0,1 0 0 0 0,0 1 1 0 0,2-3-1 0 0,3-5 30 0 0,0 0 0 0 0,0-1 0 0 0,0 0 0 0 0,-1 0 0 0 0,0 0 0 0 0,-1-1 0 0 0,7-17 0 0 0,-8 16-26 0 0,1-1 1 0 0,-2 0-1 0 0,1-1 1 0 0,-2 1-1 0 0,3-22 0 0 0,-4-64 74 0 0,-1 56-41 0 0,0 41-37 0 0,0 0 0 0 0,0 0 0 0 0,0-1-1 0 0,0 1 1 0 0,0 0 0 0 0,-1 0 0 0 0,1 0 0 0 0,0-1-1 0 0,-1 1 1 0 0,1 0 0 0 0,-1 0 0 0 0,1 0-1 0 0,-1 0 1 0 0,1 0 0 0 0,-1 0 0 0 0,0 0-1 0 0,0 0 1 0 0,1 0 0 0 0,-2-1 0 0 0,2 2-5 0 0,-1 0 0 0 0,1 0 0 0 0,0-1 0 0 0,-1 1 0 0 0,1 0 0 0 0,0 0 0 0 0,-1 0 0 0 0,1 0 0 0 0,0 0 0 0 0,-1 0 0 0 0,1 0 0 0 0,0 0 0 0 0,0 0 0 0 0,-1 0 0 0 0,1 0 0 0 0,0 0 0 0 0,-1 0 0 0 0,1 0 0 0 0,0 0 0 0 0,-1 0 0 0 0,1 1 0 0 0,0-1 0 0 0,-1 0 0 0 0,1 0 0 0 0,0 0 0 0 0,-1 1 0 0 0,-8 12-181 0 0,5-3 126 0 0,1 0 0 0 0,0 0 0 0 0,0 0 0 0 0,1 0 1 0 0,-1 20-1 0 0,3 57 213 0 0,1-43-230 0 0,-1-34 70 0 0,0-1-1 0 0,0 1 1 0 0,1 0-1 0 0,5 16 0 0 0,-5-22 2 0 0,1 1-1 0 0,-1-1 0 0 0,1 0 0 0 0,0 0 1 0 0,1-1-1 0 0,-1 1 0 0 0,1 0 1 0 0,0-1-1 0 0,0 1 0 0 0,0-1 0 0 0,0 0 1 0 0,5 4-1 0 0,-2-3 8 0 0,1 0 0 0 0,-1 0 0 0 0,1-1 0 0 0,0 1 0 0 0,0-1 1 0 0,0-1-1 0 0,1 0 0 0 0,-1 0 0 0 0,0 0 0 0 0,1-1 0 0 0,-1 0 0 0 0,1 0 0 0 0,0-1 1 0 0,-1 0-1 0 0,1 0 0 0 0,-1-1 0 0 0,1 0 0 0 0,-1 0 0 0 0,1-1 0 0 0,-1 0 1 0 0,0 0-1 0 0,1-1 0 0 0,-1 0 0 0 0,-1 0 0 0 0,14-9 0 0 0,1-1 34 0 0,-1-1-1 0 0,0-1 0 0 0,-1-1 1 0 0,25-26-1 0 0,-40 36-7 0 0,-3 4-28 0 0,-3 10-106 0 0,-1 0 57 0 0,-1 1 0 0 0,0-1 0 0 0,-1 0 1 0 0,1 0-1 0 0,-12 12 0 0 0,-6 12 94 0 0,18-25-44 0 0,-9 14 15 0 0,-12 25 0 0 0,22-38-16 0 0,0-1 0 0 0,1 0-1 0 0,0 1 1 0 0,0 0 0 0 0,0 0 0 0 0,1 0-1 0 0,-1 12 1 0 0,3-19-4 0 0,-1 0-1 0 0,0 0 1 0 0,0-1 0 0 0,0 1-1 0 0,0 0 1 0 0,1-1 0 0 0,-1 1-1 0 0,0 0 1 0 0,0-1-1 0 0,1 1 1 0 0,-1 0 0 0 0,1-1-1 0 0,-1 1 1 0 0,1-1 0 0 0,-1 1-1 0 0,1 0 1 0 0,-1-1-1 0 0,1 1 1 0 0,-1-1 0 0 0,1 0-1 0 0,0 1 1 0 0,-1-1 0 0 0,1 1-1 0 0,-1-1 1 0 0,1 0-1 0 0,0 0 1 0 0,0 1 0 0 0,-1-1-1 0 0,1 0 1 0 0,0 0 0 0 0,-1 0-1 0 0,3 0 1 0 0,28 1-74 0 0,-21-2 56 0 0,6 1 20 0 0,-1-2 0 0 0,0 0 0 0 0,1 0 0 0 0,-1-2 0 0 0,24-8 0 0 0,71-35 76 0 0,-84 35-77 0 0,178-97 83 0 0,-202 109-73 0 0,-1-1 0 0 0,1 0-1 0 0,-1 1 1 0 0,1-1 0 0 0,-1 0 0 0 0,1 0 0 0 0,-1 0 0 0 0,0 0 0 0 0,1 0-1 0 0,-1-1 1 0 0,0 1 0 0 0,0 0 0 0 0,0-1 0 0 0,0 1 0 0 0,0-1-1 0 0,0 1 1 0 0,0-1 0 0 0,-1 1 0 0 0,1-1 0 0 0,0 1 0 0 0,-1-1 0 0 0,1 0-1 0 0,-1 1 1 0 0,0-1 0 0 0,1-2 0 0 0,-6 0 41 0 0,-10 1-60 0 0,0 0 0 0 0,-1 2 0 0 0,1 0 0 0 0,-1 0 1 0 0,-20 3-1 0 0,-6 0-2 0 0,20-2-24 0 0,0 2 1 0 0,-1 1-1 0 0,1 0 1 0 0,-34 12 0 0 0,-82 35 80 0 0,55-18 341 0 0,81-31-342 0 0,7-14-143 0 0,5 3 140 0 0,1 0 1 0 0,14-10-1 0 0,16-14-12 0 0,-20 13-17 0 0,-1 0 1 0 0,-1-1-1 0 0,-1-1 0 0 0,25-40 0 0 0,-35 48-6 0 0,0 0 0 0 0,-1-1 0 0 0,-1 1 0 0 0,0-1 0 0 0,-1-1 0 0 0,-1 1 0 0 0,-1-1 0 0 0,0 0 0 0 0,1-22 0 0 0,-4 27-8 0 0,1-9-1 0 0,-4-36 1 0 0,3 50 3 0 0,-2 1 0 0 0,1-1 0 0 0,-1 1 0 0 0,0 0 0 0 0,0-1 0 0 0,0 1 0 0 0,-1 0 0 0 0,0 0 0 0 0,-7-9 0 0 0,6 9-4 0 0,-2 0 0 0 0,1 0 0 0 0,-1 0 0 0 0,0 1 0 0 0,0 0 0 0 0,0 0 0 0 0,-1 0 0 0 0,0 1 0 0 0,0 0 0 0 0,0 0 0 0 0,0 1 0 0 0,-1 0 0 0 0,-12-4 0 0 0,6 4-34 0 0,0 0 0 0 0,-1 1 0 0 0,1 1 0 0 0,-1 0 0 0 0,1 1 0 0 0,-26 2 0 0 0,28 0 13 0 0,0 1-1 0 0,1 0 1 0 0,-1 1-1 0 0,1 0 1 0 0,-1 0-1 0 0,1 1 1 0 0,1 1-1 0 0,-18 11 1 0 0,7-2 28 0 0,1 0-1 0 0,1 1 1 0 0,-19 22 0 0 0,30-31-18 0 0,1 1 0 0 0,0 0 0 0 0,1 0 0 0 0,0 1 0 0 0,1 0 0 0 0,-5 10 0 0 0,15-30-20 0 0,2 1 0 0 0,12-16 0 0 0,10-15 154 0 0,-16 20-104 0 0,-2 0 1 0 0,14-36-1 0 0,-21 44-1 0 0,0 0 0 0 0,-1-1-1 0 0,0 1 1 0 0,-1-1 0 0 0,0-26-1 0 0,0 6 2 0 0,-1 22 6 0 0,-1 0 0 0 0,0 1-1 0 0,0-1 1 0 0,-4-19 0 0 0,4 30-21 0 0,-1 1-1 0 0,1-1 1 0 0,-1 0 0 0 0,0 0 0 0 0,1 0-1 0 0,-1 0 1 0 0,0 1 0 0 0,0-1-1 0 0,1 0 1 0 0,-1 1 0 0 0,0-1 0 0 0,0 0-1 0 0,0 1 1 0 0,0-1 0 0 0,0 1-1 0 0,0 0 1 0 0,0-1 0 0 0,0 1 0 0 0,0 0-1 0 0,0-1 1 0 0,0 1 0 0 0,0 0-1 0 0,0 0 1 0 0,0 0 0 0 0,-2 0 0 0 0,-2 0-42 0 0,0 0 1 0 0,0 0 0 0 0,0 1-1 0 0,-8 1 1 0 0,8 0 28 0 0,0 0 1 0 0,0 1-1 0 0,1-1 0 0 0,-1 1 1 0 0,0 0-1 0 0,1 1 0 0 0,0-1 1 0 0,-1 1-1 0 0,-4 5 0 0 0,2-2 18 0 0,1 1-1 0 0,-1 0 0 0 0,1 0 1 0 0,-6 11-1 0 0,9-14-99 0 0,4-9 35 0 0,3-8 84 0 0,2 2 12 0 0,1 0 1 0 0,0 1-1 0 0,12-12 1 0 0,7-11 12 0 0,-8 8-16 0 0,23-39 0 0 0,-36 53-27 0 0,-1 0 0 0 0,1-1 0 0 0,-1 1 0 0 0,-1-1 0 0 0,0 1 0 0 0,-1-1 0 0 0,2-18 0 0 0,-2-60 59 0 0,-2 54-57 0 0,0 31-9 0 0,0 0 1 0 0,0-1-1 0 0,-1 1 0 0 0,1-1 1 0 0,-1 1-1 0 0,0 0 0 0 0,0-1 1 0 0,-1 1-1 0 0,1 0 0 0 0,-1 0 1 0 0,0 0-1 0 0,0 0 0 0 0,0 0 1 0 0,0 0-1 0 0,-1 1 0 0 0,0-1 1 0 0,0 1-1 0 0,0 0 0 0 0,0-1 1 0 0,0 1-1 0 0,-6-4 0 0 0,8 7-5 0 0,-1-1-1 0 0,1 1 0 0 0,0-1 1 0 0,0 1-1 0 0,0-1 0 0 0,0 1 0 0 0,0 0 1 0 0,-1 0-1 0 0,1-1 0 0 0,0 1 1 0 0,0 0-1 0 0,-1 0 0 0 0,1 0 1 0 0,0 0-1 0 0,0 1 0 0 0,0-1 0 0 0,-1 0 1 0 0,1 0-1 0 0,0 1 0 0 0,0-1 1 0 0,0 1-1 0 0,0-1 0 0 0,0 1 0 0 0,0-1 1 0 0,0 1-1 0 0,0 0 0 0 0,0 0 1 0 0,0-1-1 0 0,0 1 0 0 0,0 0 0 0 0,0 0 1 0 0,-1 2-1 0 0,-2 2-3 0 0,1 0 0 0 0,-1 1-1 0 0,1 0 1 0 0,-4 10 0 0 0,4-10 39 0 0,-1 4-47 0 0,-1 0 1 0 0,1 0-1 0 0,1 0 0 0 0,0 0 1 0 0,1 1-1 0 0,0-1 0 0 0,-1 19 1 0 0,4-49 90 0 0,1-1 0 0 0,2 1 1 0 0,9-34-1 0 0,1-4-64 0 0,-5-10 7 0 0,-3-1 1 0 0,-4-114 0 0 0,-3 104 109 0 0,1 78-19 0 0,-6 17-442 0 0,-1 4 325 0 0,1 1 0 0 0,0 0 0 0 0,2 0 0 0 0,1 1 0 0 0,0-1 0 0 0,1 31 0 0 0,2-56 34 0 0,2-5 1 0 0,-1 0-1 0 0,2 0 1 0 0,-1 0-1 0 0,1 0 1 0 0,0 0-1 0 0,1 1 0 0 0,0-1 1 0 0,10-14-1 0 0,7-17-21 0 0,-5 5-14 0 0,19-51 26 0 0,-32 93-99 0 0,-2 9-15 0 0,-3 22 87 0 0,-3 1 0 0 0,-14 65-1 0 0,1-10 40 0 0,10-20 41 0 0,2 115 0 0 0,6-176-66 0 0,0-10-2 0 0,0 2-6 0 0,0 1 1 0 0,1 0-1 0 0,-1 0 0 0 0,3 9 1 0 0,-3-14 0 0 0,1 1 0 0 0,-1-1 0 0 0,1 0 0 0 0,0 1 0 0 0,-1-1 0 0 0,1 0 0 0 0,0 1 1 0 0,0-1-1 0 0,0 0 0 0 0,0 0 0 0 0,0 0 0 0 0,0 0 0 0 0,0 0 0 0 0,0 0 0 0 0,1 0 0 0 0,-1 0 0 0 0,0 0 0 0 0,1 0 1 0 0,-1-1-1 0 0,0 1 0 0 0,4 0 0 0 0,-1 1 7 0 0,0-1 0 0 0,1 0 0 0 0,-1-1-1 0 0,1 1 1 0 0,0-1 0 0 0,-1 1 0 0 0,1-2 0 0 0,-1 1 0 0 0,1 0 0 0 0,0-1 0 0 0,-1 0 0 0 0,1 0 0 0 0,-1 0-1 0 0,8-4 1 0 0,-6 2 5 0 0,0 0 0 0 0,0 0 0 0 0,0-1 0 0 0,-1 0 0 0 0,0-1 0 0 0,1 1 0 0 0,-2-1-1 0 0,1 0 1 0 0,5-7 0 0 0,-3 1 2 0 0,0 1 0 0 0,0-1 1 0 0,-1 0-1 0 0,-1 0 0 0 0,0-1 0 0 0,-1 0 0 0 0,0 0 0 0 0,0 0 0 0 0,-2 0 0 0 0,3-20 0 0 0,-3-70 46 0 0,-3 64-52 0 0,1 31-1 0 0,0-1-1 0 0,-1 0 1 0 0,0 1 0 0 0,0-1 0 0 0,-1 1 0 0 0,0-1 0 0 0,0 1 0 0 0,0 0 0 0 0,-1-1 0 0 0,-1 1 0 0 0,1 1 0 0 0,-1-1 0 0 0,0 0-1 0 0,-6-6 1 0 0,-2 2 99 0 0,12 11-99 0 0,-1 0 0 0 0,1 0 0 0 0,0 0-1 0 0,-1 0 1 0 0,1 0 0 0 0,0-1 0 0 0,-1 1 0 0 0,1 0 0 0 0,-1 0 0 0 0,1 0 0 0 0,0 0 0 0 0,-1 0 0 0 0,1 0 0 0 0,-1 0 0 0 0,1 0-1 0 0,0 1 1 0 0,-1-1 0 0 0,1 0 0 0 0,0 0 0 0 0,-1 0 0 0 0,1 0 0 0 0,-1 0 0 0 0,1 1 0 0 0,0-1 0 0 0,-1 0 0 0 0,1 0-1 0 0,0 1 1 0 0,0-1 0 0 0,-1 0 0 0 0,1 0 0 0 0,0 1 0 0 0,0-1 0 0 0,-1 0 0 0 0,1 1 0 0 0,0-1 0 0 0,0 0 0 0 0,0 1-1 0 0,-1-1 1 0 0,1 0 0 0 0,0 1 0 0 0,0 0 0 0 0,-4 11-61 0 0,2 0-1 0 0,-1 0 0 0 0,1 1 1 0 0,1-1-1 0 0,0 1 1 0 0,1 12-1 0 0,0-5 96 0 0,-1 195 82 0 0,1-121-62 0 0,0-87-61 0 0,0 0-1 0 0,1 0 0 0 0,0 0 0 0 0,0 0 0 0 0,0 0 1 0 0,1 0-1 0 0,0 0 0 0 0,0 0 0 0 0,0-1 0 0 0,1 1 0 0 0,0-1 1 0 0,1 0-1 0 0,4 7 0 0 0,-6-11-2 0 0,-1 1-1 0 0,1-2 1 0 0,0 1-1 0 0,0 0 1 0 0,0 0 0 0 0,0-1-1 0 0,0 1 1 0 0,0-1-1 0 0,0 1 1 0 0,0-1 0 0 0,1 0-1 0 0,3 2 1 0 0,-5-3 9 0 0,1 1 1 0 0,-1-1-1 0 0,0 0 1 0 0,0 0-1 0 0,1 1 1 0 0,-1-1-1 0 0,0 0 1 0 0,0 0-1 0 0,1 0 1 0 0,-1 0-1 0 0,0 0 1 0 0,1-1-1 0 0,-1 1 1 0 0,0 0-1 0 0,0-1 1 0 0,1 1 0 0 0,-1 0-1 0 0,0-1 1 0 0,0 0-1 0 0,0 1 1 0 0,0-1-1 0 0,0 0 1 0 0,0 1-1 0 0,0-1 1 0 0,0 0-1 0 0,0 0 1 0 0,0 0-1 0 0,1-1 1 0 0,2-5 39 0 0,0 1 0 0 0,-1-1-1 0 0,0 0 1 0 0,0 0 0 0 0,-1 0 0 0 0,0 0 0 0 0,0 0 0 0 0,0 0 0 0 0,0-11 0 0 0,2-72 125 0 0,-4 82-162 0 0,0-9 7 0 0,0-1 0 0 0,-1 0 0 0 0,-1 1 0 0 0,0-1 0 0 0,-2 1 0 0 0,0-1 0 0 0,0 1 0 0 0,-2 1 0 0 0,-14-32 0 0 0,-11-7-30 0 0,-55-75 0 0 0,66 104 71 0 0,-1 1 0 0 0,-1 1 0 0 0,-2 1-1 0 0,-43-34 1 0 0,66 57-59 0 0,1-1-1 0 0,0 1 1 0 0,0 0 0 0 0,0 0-1 0 0,0 0 1 0 0,0 0-1 0 0,0 0 1 0 0,-1 0 0 0 0,1 0-1 0 0,0 0 1 0 0,0 0 0 0 0,0 0-1 0 0,0 0 1 0 0,0 0-1 0 0,-1 0 1 0 0,1 0 0 0 0,0 0-1 0 0,0 0 1 0 0,0 0-1 0 0,0 0 1 0 0,0 0 0 0 0,0 1-1 0 0,-1-1 1 0 0,1 0 0 0 0,0 0-1 0 0,0 0 1 0 0,0 0-1 0 0,0 0 1 0 0,0 0 0 0 0,0 0-1 0 0,0 0 1 0 0,-1 0-1 0 0,1 1 1 0 0,0-1 0 0 0,0 0-1 0 0,0 0 1 0 0,0 0 0 0 0,0 0-1 0 0,0 0 1 0 0,0 0-1 0 0,0 1 1 0 0,0-1 0 0 0,0 0-1 0 0,0 0 1 0 0,0 0-1 0 0,0 0 1 0 0,0 0 0 0 0,0 0-1 0 0,0 1 1 0 0,0-1 0 0 0,0 0-1 0 0,0 0 1 0 0,0 0-1 0 0,0 0 1 0 0,0 0 0 0 0,0 1-1 0 0,0-1 1 0 0,0 0-1 0 0,0 0 1 0 0,0 0 0 0 0,0 0-1 0 0,0 0 1 0 0,1 0 0 0 0,-1 0-1 0 0,0 1 1 0 0,0-1-1 0 0,4 13 20 0 0,-2-11-13 0 0,0 1-1 0 0,0-1 0 0 0,0 1 1 0 0,0-1-1 0 0,0 1 0 0 0,1-1 0 0 0,-1 0 1 0 0,1 0-1 0 0,0-1 0 0 0,-1 1 1 0 0,1 0-1 0 0,0-1 0 0 0,0 1 1 0 0,0-1-1 0 0,0 0 0 0 0,4 0 0 0 0,-2 0 0 0 0,0 0-1 0 0,0-1 1 0 0,0 0-1 0 0,0 0 1 0 0,0 0-1 0 0,0 0 0 0 0,0-1 1 0 0,0 0-1 0 0,7-2 1 0 0,2-3-2 0 0,1 0 1 0 0,-1 0 0 0 0,-1-1 0 0 0,1-1 0 0 0,21-16-1 0 0,-22 15-8 0 0,17-14-16 0 0,-29 21 29 0 0,1 1-1 0 0,-1-1 1 0 0,0 1 0 0 0,0-1 0 0 0,1 0 0 0 0,-1 1 0 0 0,-1-1 0 0 0,1 0 0 0 0,0 0 0 0 0,0 1 0 0 0,-1-1 0 0 0,1 0 0 0 0,-1 0 0 0 0,1 0 0 0 0,-1 0 0 0 0,0-2 0 0 0,-17 4-238 0 0,9 0 204 0 0,0 1 0 0 0,1 0 0 0 0,-1 1 0 0 0,1 0 1 0 0,-1 0-1 0 0,1 0 0 0 0,0 1 0 0 0,0 0 0 0 0,0 1 0 0 0,0-1 0 0 0,0 1 0 0 0,1 1 1 0 0,0-1-1 0 0,0 1 0 0 0,-10 10 0 0 0,9-8 33 0 0,1-1 1 0 0,1 1-1 0 0,-1 0 0 0 0,1 1 1 0 0,1-1-1 0 0,-1 1 0 0 0,1 0 0 0 0,0 0 1 0 0,1 1-1 0 0,0-1 0 0 0,0 0 1 0 0,1 1-1 0 0,-2 15 0 0 0,1 86-33 0 0,3-98 33 0 0,0-9-7 0 0,1 1 0 0 0,-1-1 0 0 0,1 0 0 0 0,-1 1 0 0 0,1-1 0 0 0,0 0 0 0 0,0 0 0 0 0,1 1 0 0 0,-1-1 0 0 0,1 0 0 0 0,-1 0 0 0 0,1 0 0 0 0,0-1 0 0 0,0 1 0 0 0,0 0 0 0 0,5 4 0 0 0,2 1 5 0 0,1-1 0 0 0,0 0 1 0 0,14 8-1 0 0,-12-8-20 0 0,1 1 19 0 0,1-2 0 0 0,-1 0 0 0 0,1 0 0 0 0,1-2 0 0 0,-1 1 0 0 0,0-2 0 0 0,29 4 0 0 0,-11-5 12 0 0,0 0-1 0 0,50-6 1 0 0,-60-1 11 0 0,-2 0 65 0 0,-19 5-55 0 0,-1 4-24 0 0,-1 1-31 0 0,1 1 0 0 0,-1 0 0 0 0,0 0 0 0 0,0-1 0 0 0,-1 1 0 0 0,0 0 0 0 0,0-1 0 0 0,-4 8 0 0 0,-27 42 51 0 0,21-36-27 0 0,-18 25 34 0 0,8-10 22 0 0,-30 57 0 0 0,50-86-65 0 0,-1 0 1 0 0,1 0-1 0 0,1 0 0 0 0,-1 0 0 0 0,1 0 1 0 0,-1 1-1 0 0,2-1 0 0 0,-2 8 1 0 0,2-13 5 0 0,0 0 0 0 0,0 0 0 0 0,1 0 0 0 0,-1 1 0 0 0,0-1 1 0 0,0 0-1 0 0,0 0 0 0 0,0 0 0 0 0,0 0 0 0 0,0 1 0 0 0,0-1 1 0 0,0 0-1 0 0,0 0 0 0 0,0 0 0 0 0,1 0 0 0 0,-1 1 0 0 0,0-1 1 0 0,0 0-1 0 0,0 0 0 0 0,0 0 0 0 0,0 0 0 0 0,1 0 0 0 0,-1 0 1 0 0,0 1-1 0 0,0-1 0 0 0,0 0 0 0 0,1 0 0 0 0,-1 0 0 0 0,0 0 0 0 0,0 0 1 0 0,0 0-1 0 0,1 0 0 0 0,-1 0 0 0 0,0 0 0 0 0,0 0 0 0 0,0 0 1 0 0,1 0-1 0 0,-1 0 0 0 0,0 0 0 0 0,0 0 0 0 0,0 0 0 0 0,1 0 1 0 0,-1 0-1 0 0,0 0 0 0 0,14 0 5 0 0,0 0 1 0 0,-1-1-1 0 0,1 0 0 0 0,-1-1 1 0 0,1-1-1 0 0,21-6 0 0 0,83-36 85 0 0,-108 41-82 0 0,403-196 8 0 0,-426 214-30 0 0,-377 220 4 0 0,280-172 85 0 0,30-19 31 0 0,-59 36-27 0 0,132-75-84 0 0,3-2 2 0 0,1 0 0 0 0,-1 0 0 0 0,1 0 0 0 0,0 1-1 0 0,0-1 1 0 0,-1 1 0 0 0,1 0 0 0 0,1 0 0 0 0,-1 0 0 0 0,-4 6-1 0 0,7-9 5 0 0,0 0-1 0 0,0 1 1 0 0,0-1-1 0 0,0 0 0 0 0,0 0 1 0 0,-1 0-1 0 0,1 0 0 0 0,0 0 1 0 0,0 0-1 0 0,0 0 1 0 0,0 0-1 0 0,0 1 0 0 0,0-1 1 0 0,0 0-1 0 0,0 0 0 0 0,0 0 1 0 0,0 0-1 0 0,0 0 1 0 0,0 0-1 0 0,0 1 0 0 0,0-1 1 0 0,0 0-1 0 0,0 0 0 0 0,0 0 1 0 0,0 0-1 0 0,0 0 1 0 0,0 1-1 0 0,0-1 0 0 0,0 0 1 0 0,0 0-1 0 0,0 0 0 0 0,0 0 1 0 0,0 0-1 0 0,0 0 1 0 0,1 0-1 0 0,-1 1 0 0 0,0-1 1 0 0,0 0-1 0 0,0 0 0 0 0,0 0 1 0 0,0 0-1 0 0,0 0 1 0 0,0 0-1 0 0,0 0 0 0 0,1 0 1 0 0,-1 0-1 0 0,0 0 0 0 0,0 0 1 0 0,0 0-1 0 0,0 1 1 0 0,0-1-1 0 0,0 0 0 0 0,1 0 1 0 0,-1 0-1 0 0,0 0 0 0 0,0 0 1 0 0,0 0-1 0 0,0 0 1 0 0,0 0-1 0 0,0 0 0 0 0,1 0 1 0 0,-1 0-1 0 0,0-1 0 0 0,8 2-14 0 0,1 0 0 0 0,-1-1-1 0 0,0-1 1 0 0,1 0 0 0 0,-1 0 0 0 0,0 0-1 0 0,15-5 1 0 0,-3 1 29 0 0,432-148 253 0 0,-373 123-247 0 0,647-274-8 0 0,-767 328 108 0 0,7-3-97 0 0,-528 257 153 0 0,79-42-171 0 0,471-230-4 0 0,-7 4-4 0 0,1 0-1 0 0,-29 22 1 0 0,44-29-33 0 0,8-3-46 0 0,5 0 50 0 0,1-1 0 0 0,0 0 0 0 0,-1-1 1 0 0,1 0-1 0 0,-1-1 0 0 0,1 0 0 0 0,15-8 1 0 0,7-1 51 0 0,491-189 248 0 0,-19-43-136 0 0,-474 227-135 0 0,-1-2 0 0 0,40-31 1 0 0,-50 28 19 0 0,-20 22-14 0 0,1 0 0 0 0,-1 0 0 0 0,0 0 0 0 0,0 0 0 0 0,0 0-1 0 0,0-1 1 0 0,0 1 0 0 0,0 0 0 0 0,0 0 0 0 0,1 0 0 0 0,-1-1 0 0 0,0 1 0 0 0,0 0 0 0 0,0 0 0 0 0,0 0 0 0 0,0-1 0 0 0,0 1 0 0 0,0 0-1 0 0,0 0 1 0 0,0 0 0 0 0,0-1 0 0 0,0 1 0 0 0,0 0 0 0 0,0 0 0 0 0,0 0 0 0 0,0-1 0 0 0,0 1 0 0 0,0 0 0 0 0,-1 0 0 0 0,1 0-1 0 0,0 0 1 0 0,0-1 0 0 0,0 1 0 0 0,0 0 0 0 0,0 0 0 0 0,0 0 0 0 0,0 0 0 0 0,-1-1 0 0 0,1 1 0 0 0,0 0 0 0 0,0 0 0 0 0,0 0 0 0 0,0 0-1 0 0,-1 0 1 0 0,1 0 0 0 0,0 0 0 0 0,0-1 0 0 0,0 1 0 0 0,-1 0 0 0 0,1 0 0 0 0,0 0 0 0 0,0 0 0 0 0,0 0 0 0 0,-1 0 0 0 0,1 0 0 0 0,0 0-1 0 0,0 0 1 0 0,0 0 0 0 0,-1 0 0 0 0,1 0 0 0 0,0 0 0 0 0,0 0 0 0 0,0 0 0 0 0,-1 1 0 0 0,-20 3 54 0 0,-38 16-175 0 0,-98 50 0 0 0,73-31 104 0 0,-668 321 119 0 0,748-358-104 0 0,-156 85-3 0 0,131-66-23 0 0,29-21 23 0 0,0 0 1 0 0,0 0 0 0 0,1 0 0 0 0,-1 0-1 0 0,0 0 1 0 0,0 0 0 0 0,0 0 0 0 0,0 0-1 0 0,0 0 1 0 0,1 0 0 0 0,-1 0 0 0 0,0 1-1 0 0,0-1 1 0 0,0 0 0 0 0,0 0 0 0 0,0 0 0 0 0,1 0-1 0 0,-1 0 1 0 0,0 0 0 0 0,0 0 0 0 0,0 0-1 0 0,0 1 1 0 0,0-1 0 0 0,0 0 0 0 0,0 0-1 0 0,0 0 1 0 0,1 0 0 0 0,-1 0 0 0 0,0 0-1 0 0,0 1 1 0 0,0-1 0 0 0,0 0 0 0 0,0 0-1 0 0,0 0 1 0 0,0 0 0 0 0,0 1 0 0 0,0-1 0 0 0,0 0-1 0 0,0 0 1 0 0,0 0 0 0 0,0 0 0 0 0,0 0-1 0 0,0 1 1 0 0,0-1 0 0 0,0 0 0 0 0,0 0-1 0 0,0 0 1 0 0,0 0 0 0 0,-1 0 0 0 0,1 1-1 0 0,0-1 1 0 0,0 0 0 0 0,0 0 0 0 0,0 0-1 0 0,0 0 1 0 0,11 0-27 0 0,1 0-1 0 0,-1-1 1 0 0,1-1-1 0 0,-1 0 1 0 0,0-1-1 0 0,0 0 1 0 0,19-8 0 0 0,2 1 37 0 0,829-293 263 0 0,-590 204-184 0 0,-71 23-106 0 0,-189 72 17 0 0,0-1-2 0 0,1 1 0 0 0,-1 0 0 0 0,19-3 0 0 0,-27 7-8 0 0,-5 4-19 0 0,-3 2 17 0 0,0 1 0 0 0,0-2 0 0 0,-1 1-1 0 0,1 0 1 0 0,-1-1 0 0 0,-1 0 0 0 0,1 0 0 0 0,-1-1 0 0 0,-7 4 0 0 0,-2 2 16 0 0,-507 288 11 0 0,250-149-12 0 0,261-142 6 0 0,-6 3 17 0 0,-1 0-1 0 0,1 2 0 0 0,-16 14 1 0 0,34-26-26 0 0,0 0 1 0 0,0 0 0 0 0,1 0-1 0 0,-1 0 1 0 0,0 0 0 0 0,0 0-1 0 0,0 0 1 0 0,0 0-1 0 0,1 0 1 0 0,-1 0 0 0 0,0 0-1 0 0,0 0 1 0 0,0 1 0 0 0,0-1-1 0 0,1 0 1 0 0,-1 0-1 0 0,0 0 1 0 0,0 0 0 0 0,0 0-1 0 0,0 0 1 0 0,0 1 0 0 0,1-1-1 0 0,-1 0 1 0 0,0 0-1 0 0,0 0 1 0 0,0 0 0 0 0,0 1-1 0 0,0-1 1 0 0,0 0-1 0 0,0 0 1 0 0,0 0 0 0 0,0 0-1 0 0,0 1 1 0 0,0-1 0 0 0,0 0-1 0 0,0 0 1 0 0,0 0-1 0 0,0 1 1 0 0,0-1 0 0 0,0 0-1 0 0,0 0 1 0 0,0 0 0 0 0,0 0-1 0 0,0 1 1 0 0,0-1-1 0 0,0 0 1 0 0,0 0 0 0 0,0 0-1 0 0,0 1 1 0 0,0-1-1 0 0,0 0 1 0 0,-1 0 0 0 0,1 0-1 0 0,0 0 1 0 0,0 0 0 0 0,0 1-1 0 0,0-1 1 0 0,13 0-19 0 0,0-1 0 0 0,1 0 1 0 0,-1-1-1 0 0,0 0 0 0 0,0-1 1 0 0,0 0-1 0 0,24-11 0 0 0,-10 5 39 0 0,1111-438 448 0 0,-972 368-478 0 0,-135 60 30 0 0,-27 15 24 0 0,-8 3-6 0 0,-15 4 75 0 0,-216 86 31 0 0,174-63-147 0 0,-730 335-151 0 0,773-353 151 0 0,-163 87 16 0 0,147-71 12 0 0,31-19-44 0 0,13-4-43 0 0,16-5 27 0 0,0 0-1 0 0,1-2 0 0 0,-2 0 0 0 0,41-17 0 0 0,-46 16 48 0 0,1220-427 408 0 0,-1077 375-371 0 0,-141 52-61 0 0,-19 6 3 0 0,-4 3-1 0 0,-37 16-3 0 0,-9 3 26 0 0,-528 241-111 0 0,15 30 34 0 0,546-283 66 0 0,-3 0-1 0 0,0 1 1 0 0,1 1-1 0 0,0 0 0 0 0,-24 23 0 0 0,37-30-6 0 0,17-5-22 0 0,-14 1 28 0 0,89-19-88 0 0,65-31 165 0 0,-153 50-77 0 0,1466-492 494 0 0,-1293 431-465 0 0,-145 48-34 0 0,-29 13 5 0 0,0 0 1 0 0,0 0 0 0 0,0 0-1 0 0,0 0 1 0 0,0 0 0 0 0,0 0 0 0 0,0 0-1 0 0,0 0 1 0 0,0 0 0 0 0,0 0-1 0 0,-1 0 1 0 0,1 0 0 0 0,0 0 0 0 0,0 0-1 0 0,0 0 1 0 0,0 0 0 0 0,0 0-1 0 0,0 0 1 0 0,0 0 0 0 0,0 0 0 0 0,0 0-1 0 0,0 0 1 0 0,0 0 0 0 0,0 0-1 0 0,0 0 1 0 0,-1 0 0 0 0,1 0 0 0 0,0 0-1 0 0,0 0 1 0 0,0 0 0 0 0,0 0-1 0 0,0 0 1 0 0,0 0 0 0 0,0 0 0 0 0,0 0-1 0 0,0 0 1 0 0,0 0 0 0 0,0 0-1 0 0,0 0 1 0 0,0 0 0 0 0,0 0 0 0 0,0 0-1 0 0,-1 0 1 0 0,1 0 0 0 0,0 0-1 0 0,0 0 1 0 0,0 0 0 0 0,0 0-1 0 0,0-1 1 0 0,0 1 0 0 0,0 0 0 0 0,0 0-1 0 0,0 0 1 0 0,0 0 0 0 0,0 0-1 0 0,0 0 1 0 0,0 0 0 0 0,0 0 0 0 0,0 0-1 0 0,0 0 1 0 0,0 0 0 0 0,0 0-1 0 0,0-1 1 0 0,0 1 0 0 0,0 0 0 0 0,0 0-1 0 0,0 0 1 0 0,0 0 0 0 0,-15 3 70 0 0,-61 19-52 0 0,-84 37 1 0 0,86-30-27 0 0,-557 233-191 0 0,619-257 193 0 0,-16 7 0 0 0,1 1-1 0 0,1 1 1 0 0,-29 21 0 0 0,49-28-2 0 0,13-5-26 0 0,2-2 9 0 0,1-1 1 0 0,-1 0-1 0 0,1 0 1 0 0,12-4-1 0 0,112-35 70 0 0,941-342 330 0 0,-1055 374-380 0 0,148-63-40 0 0,-189 77 126 0 0,-705 297 201 0 0,709-295-288 0 0,-11 4-22 0 0,0 1-1 0 0,-38 24 0 0 0,60-30 9 0 0,12-4-18 0 0,9-2 24 0 0,0-1 1 0 0,1-1-1 0 0,-1-1 0 0 0,0 1 1 0 0,0-2-1 0 0,24-7 0 0 0,-10 3 35 0 0,562-165 171 0 0,-363 102-196 0 0,-201 61 27 0 0,-22 7-27 0 0,-14 4 54 0 0,-66 19-32 0 0,0 4 1 0 0,-88 42 0 0 0,129-50 36 0 0,32-16-61 0 0,-4 4 35 0 0,7-3-58 0 0,6-1-89 0 0,17-2 84 0 0,0-1 0 0 0,34-7 0 0 0,57-19 79 0 0,-42 10-41 0 0,-21 5-12 0 0,-18 4 7 0 0,0 1 1 0 0,37-2-1 0 0,-71 10 0 0 0,0 0-1 0 0,0 0 0 0 0,0 0 1 0 0,0 0-1 0 0,-1 0 1 0 0,1 0-1 0 0,0 0 0 0 0,0 1 1 0 0,0-1-1 0 0,0 0 1 0 0,0 0-1 0 0,0 0 0 0 0,0 0 1 0 0,0 0-1 0 0,0 0 0 0 0,0 0 1 0 0,0 1-1 0 0,0-1 1 0 0,0 0-1 0 0,0 0 0 0 0,0 0 1 0 0,0 0-1 0 0,0 0 1 0 0,0 0-1 0 0,0 1 0 0 0,0-1 1 0 0,0 0-1 0 0,0 0 1 0 0,0 0-1 0 0,0 0 0 0 0,1 0 1 0 0,-1 0-1 0 0,0 0 0 0 0,0 0 1 0 0,0 1-1 0 0,0-1 1 0 0,0 0-1 0 0,0 0 0 0 0,0 0 1 0 0,0 0-1 0 0,0 0 1 0 0,1 0-1 0 0,-1 0 0 0 0,0 0 1 0 0,0 0-1 0 0,0 0 1 0 0,0 0-1 0 0,0 0 0 0 0,0 0 1 0 0,0 0-1 0 0,1 0 1 0 0,-1 0-1 0 0,0 0 0 0 0,0 0 1 0 0,0 0-1 0 0,0 0 0 0 0,0 0 1 0 0,0 0-1 0 0,0 0 1 0 0,1 0-1 0 0,-1 0 0 0 0,0 0 1 0 0,0 0-1 0 0,0 0 1 0 0,0 0-1 0 0,0 0 0 0 0,0 0 1 0 0,1 0-1 0 0,-9 7-45 0 0,-37 22 75 0 0,34-24-21 0 0,1 1 1 0 0,1 0 0 0 0,-1 1-1 0 0,-15 14 1 0 0,25-21-10 0 0,-1 1-1 0 0,1-1 1 0 0,-1 1 0 0 0,1-1-1 0 0,-1 1 1 0 0,1-1-1 0 0,0 1 1 0 0,-1-1 0 0 0,1 1-1 0 0,0-1 1 0 0,-1 1-1 0 0,1 0 1 0 0,0-1 0 0 0,0 1-1 0 0,0-1 1 0 0,0 1-1 0 0,-1 0 1 0 0,1-1 0 0 0,0 1-1 0 0,0 1 1 0 0,1-2-1 0 0,-1 0 0 0 0,0 1 0 0 0,0-1-1 0 0,1 1 1 0 0,-1-1 0 0 0,0 0 0 0 0,1 1 0 0 0,-1-1 0 0 0,0 0 0 0 0,1 1 0 0 0,-1-1 0 0 0,0 0 0 0 0,1 1 0 0 0,-1-1 0 0 0,1 0-1 0 0,-1 0 1 0 0,1 1 0 0 0,-1-1 0 0 0,1 0 0 0 0,0 0 0 0 0,28 3-52 0 0,-25-3 58 0 0,41 0-25 0 0,-26-1 29 0 0,1 1 0 0 0,20 3 0 0 0,-39-2-11 0 0,0-1 0 0 0,0 0 0 0 0,0 0 1 0 0,0 1-1 0 0,0-1 0 0 0,0 0 0 0 0,0 1 0 0 0,-1-1 0 0 0,1 1 0 0 0,0-1 0 0 0,0 1 0 0 0,0-1 1 0 0,-1 1-1 0 0,1 0 0 0 0,0-1 0 0 0,-1 1 0 0 0,1 0 0 0 0,0 0 0 0 0,-1 0 0 0 0,1-1 0 0 0,-1 1 1 0 0,0 0-1 0 0,1 0 0 0 0,-1 0 0 0 0,1 0 0 0 0,-1 0 0 0 0,0 0 0 0 0,0 0 0 0 0,0 0 0 0 0,1 0 0 0 0,-1 0 1 0 0,0 0-1 0 0,0 0 0 0 0,-1 0 0 0 0,1 1 0 0 0,0 0-1 0 0,0 1 1 0 0,-1-1-1 0 0,1 0 0 0 0,-1 0 1 0 0,0 0-1 0 0,1 0 0 0 0,-1 0 1 0 0,0 0-1 0 0,0 0 0 0 0,0 0 1 0 0,-1 0-1 0 0,1 0 0 0 0,0-1 1 0 0,-1 1-1 0 0,-2 2 0 0 0,-15 9 18 0 0,14-10-14 0 0,0 0 0 0 0,0 0 0 0 0,0 0 0 0 0,0 1 0 0 0,1 0 0 0 0,-1 0 0 0 0,1 0 0 0 0,0 0 0 0 0,-6 10 0 0 0,9-13-116 0 0,1 0 1 0 0,-1 0-1 0 0,1 0 1 0 0,-1 0 0 0 0,1 1-1 0 0,-1-1 1 0 0,1 0-1 0 0,0 0 1 0 0,0 0 0 0 0,-1 1-1 0 0,1-1 1 0 0,0 0-1 0 0,0 0 1 0 0,0 1 0 0 0,1-1-1 0 0,-1 0 1 0 0,0 0-1 0 0,0 0 1 0 0,1 1-1 0 0,-1-1 1 0 0,0 0 0 0 0,1 0-1 0 0,0 0 1 0 0,-1 0-1 0 0,1 0 1 0 0,-1 0 0 0 0,1 0-1 0 0,0 0 1 0 0,6 6-809 0 0,-5-7 809 0 0,-1 1 0 0 0,0-1-1 0 0,0 1 1 0 0,0-1-1 0 0,0 0 1 0 0,0 1-1 0 0,1-1 1 0 0,0 0 0 0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822"/>
    </inkml:context>
    <inkml:brush xml:id="br0">
      <inkml:brushProperty name="width" value="0.05" units="cm"/>
      <inkml:brushProperty name="height" value="0.05" units="cm"/>
      <inkml:brushProperty name="color" value="#E71224"/>
    </inkml:brush>
  </inkml:definitions>
  <inkml:trace contextRef="#ctx0" brushRef="#br0">13 0 8404 0 0,'0'0'3239'0'0,"0"3"-3029"0"0,0 20 421 0 0,-6 40 0 0 0,2-27 85 0 0,2 1-1 0 0,3 56 0 0 0,0-27-420 0 0,-1-59-278 0 0,0 0 6 0 0,0 1 0 0 0,0-1-1 0 0,1 1 1 0 0,0-1 0 0 0,3 13 0 0 0,-3-17-23 0 0,0-1 1 0 0,0 1-1 0 0,1-1 1 0 0,-1 0 0 0 0,1 0-1 0 0,-1 0 1 0 0,1 0-1 0 0,0 0 1 0 0,-1 0 0 0 0,1 0-1 0 0,0 0 1 0 0,0-1-1 0 0,1 1 1 0 0,-1-1-1 0 0,0 0 1 0 0,0 1 0 0 0,1-1-1 0 0,-1 0 1 0 0,1 0-1 0 0,2 0 1 0 0,2 1-521 0 0,1-1-1 0 0,-1 0 1 0 0,0 0 0 0 0,0-1 0 0 0,1 0-1 0 0,11-2 1 0 0,-15 0-2046 0 0,0-6-1185 0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244"/>
    </inkml:context>
    <inkml:brush xml:id="br0">
      <inkml:brushProperty name="width" value="0.05" units="cm"/>
      <inkml:brushProperty name="height" value="0.05" units="cm"/>
      <inkml:brushProperty name="color" value="#E71224"/>
    </inkml:brush>
  </inkml:definitions>
  <inkml:trace contextRef="#ctx0" brushRef="#br0">0 4 5795 0 0,'0'0'3367'0'0,"9"0"-2767"0"0,168-4 1750 0 0,-141 4-2713 0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789"/>
    </inkml:context>
    <inkml:brush xml:id="br0">
      <inkml:brushProperty name="width" value="0.05" units="cm"/>
      <inkml:brushProperty name="height" value="0.05" units="cm"/>
      <inkml:brushProperty name="color" value="#E71224"/>
    </inkml:brush>
  </inkml:definitions>
  <inkml:trace contextRef="#ctx0" brushRef="#br0">1 1 4610 0 0,'0'0'5659'0'0,"0"2"-5270"0"0,0 173 2815 0 0,1-174-3206 0 0,0-1 0 0 0,1 1 0 0 0,-1-1 0 0 0,0 0 0 0 0,1 1 0 0 0,-1-1 0 0 0,0 0-1 0 0,1 0 1 0 0,-1 0 0 0 0,1 0 0 0 0,-1 0 0 0 0,0 0 0 0 0,3 0 0 0 0,-2-1-19 0 0,0 2 14 0 0,0-1 1 0 0,0 0 0 0 0,0-1 0 0 0,0 1 0 0 0,0 0-1 0 0,0-1 1 0 0,0 1 0 0 0,0-1 0 0 0,-1 1 0 0 0,1-1-1 0 0,2-1 1 0 0,-3 2-270 0 0,0-1 1 0 0,-1 0-1 0 0,1 0 0 0 0,0 1 0 0 0,0-1 1 0 0,-1 0-1 0 0,1 0 0 0 0,-1 0 0 0 0,1 0 0 0 0,-1 0 1 0 0,1 0-1 0 0,-1 0 0 0 0,0 0 0 0 0,1 0 1 0 0,-1 0-1 0 0,0 0 0 0 0,0 0 0 0 0,0 0 1 0 0,0 0-1 0 0,1-1 0 0 0,-2 0 0 0 0,1-9-7394 0 0</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132"/>
    </inkml:context>
    <inkml:brush xml:id="br0">
      <inkml:brushProperty name="width" value="0.05" units="cm"/>
      <inkml:brushProperty name="height" value="0.05" units="cm"/>
      <inkml:brushProperty name="color" value="#E71224"/>
    </inkml:brush>
  </inkml:definitions>
  <inkml:trace contextRef="#ctx0" brushRef="#br0">21 96 10117 0 0</inkml:trace>
  <inkml:trace contextRef="#ctx0" brushRef="#br0" timeOffset="1">21 96 10117 0 0,'-20'-92'1568'0'0,"20"88"657"0"0,6 4-2609 0 0,1 0-320 0 0,0 2-1105 0 0,-7 6-2049 0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822"/>
    </inkml:context>
    <inkml:brush xml:id="br0">
      <inkml:brushProperty name="width" value="0.05" units="cm"/>
      <inkml:brushProperty name="height" value="0.05" units="cm"/>
      <inkml:brushProperty name="color" value="#E71224"/>
    </inkml:brush>
  </inkml:definitions>
  <inkml:trace contextRef="#ctx0" brushRef="#br0">1 0 5154 0 0,'0'0'4717'0'0,"0"3"-4413"0"0,0 319 4659 0 0,0-318-4944 0 0,0-1 0 0 0,0 1 0 0 0,1 0 0 0 0,-1 0 0 0 0,1 0 0 0 0,0-1 0 0 0,1 1 0 0 0,-1 0 0 0 0,0-1 0 0 0,1 1 0 0 0,0-1 0 0 0,0 1 0 0 0,0-1 0 0 0,0 0 0 0 0,1 0 0 0 0,-1 0 0 0 0,1 0 1 0 0,-1 0-1 0 0,1-1 0 0 0,0 1 0 0 0,7 3 0 0 0,-4-2-304 0 0,0-1 0 0 0,1 0 0 0 0,0 0 0 0 0,0-1 0 0 0,0 0 0 0 0,0 0 0 0 0,0 0 0 0 0,0-1 0 0 0,0 0 0 0 0,14 0 0 0 0,-19-2-2039 0 0,-1-4-1003 0 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212"/>
    </inkml:context>
    <inkml:brush xml:id="br0">
      <inkml:brushProperty name="width" value="0.05" units="cm"/>
      <inkml:brushProperty name="height" value="0.05" units="cm"/>
      <inkml:brushProperty name="color" value="#E71224"/>
    </inkml:brush>
  </inkml:definitions>
  <inkml:trace contextRef="#ctx0" brushRef="#br0">2 6 1633 0 0,'0'0'8433'0'0,"0"0"-8407"0"0,0 0 1 0 0,0 0-1 0 0,0 0 0 0 0,0 0 1 0 0,-1 0-1 0 0,1 0 0 0 0,0-1 1 0 0,0 1-1 0 0,0 0 0 0 0,0 0 1 0 0,0 0-1 0 0,0 0 0 0 0,0 0 1 0 0,0 0-1 0 0,0 0 0 0 0,0-1 1 0 0,0 1-1 0 0,0 0 0 0 0,0 0 1 0 0,0 0-1 0 0,0 0 0 0 0,0 0 1 0 0,0 0-1 0 0,0-1 0 0 0,0 1 1 0 0,0 0-1 0 0,0 0 0 0 0,0 0 1 0 0,0 0-1 0 0,0 0 0 0 0,0 0 1 0 0,0-1-1 0 0,0 1 1 0 0,0 0-1 0 0,0 0 0 0 0,0 0 1 0 0,0 0-1 0 0,0 0 0 0 0,0 0 1 0 0,0 0-1 0 0,1-1 0 0 0,-1 1 1 0 0,0 0-1 0 0,0 0 0 0 0,0 0 1 0 0,0 0-1 0 0,0 0 0 0 0,0 0 1 0 0,0 0-1 0 0,1 0 0 0 0,-1 0 1 0 0,0 0-1 0 0,0 0 0 0 0,0 0 1 0 0,0 0-1 0 0,0 0 0 0 0,0 0 1 0 0,1 0-1 0 0,-1 0 0 0 0,0 0 1 0 0,0 0-1 0 0,0 0 0 0 0,132 0 2025 0 0,-42 0-5825 0 0,-77 0 783 0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681"/>
    </inkml:context>
    <inkml:brush xml:id="br0">
      <inkml:brushProperty name="width" value="0.05" units="cm"/>
      <inkml:brushProperty name="height" value="0.05" units="cm"/>
      <inkml:brushProperty name="color" value="#E71224"/>
    </inkml:brush>
  </inkml:definitions>
  <inkml:trace contextRef="#ctx0" brushRef="#br0">42 1 1713 0 0,'0'0'10103'0'0,"-20"39"-8310"0"0,16-30-1680 0 0,0 0 1 0 0,1 0-1 0 0,0 1 1 0 0,1-1 0 0 0,0 1-1 0 0,1 0 1 0 0,-1-1-1 0 0,2 1 1 0 0,0 0-1 0 0,1 12 1 0 0,-1-13-101 0 0,0-9-15 0 0,1 1 1 0 0,0-1 0 0 0,0 1-1 0 0,0-1 1 0 0,0 1-1 0 0,0-1 1 0 0,0 0-1 0 0,0 1 1 0 0,0-1-1 0 0,0 0 1 0 0,0 0 0 0 0,0 0-1 0 0,0 0 1 0 0,0 0-1 0 0,0 0 1 0 0,0 0-1 0 0,2 0 1 0 0,22-1-681 0 0,-25 1 669 0 0,2 0-221 0 0,0-1 0 0 0,1 0 0 0 0,-1 1 0 0 0,0-1 0 0 0,0 0 0 0 0,0 0 0 0 0,0 0 0 0 0,0 0 0 0 0,0 0 0 0 0,-1 0 0 0 0,1-1 0 0 0,0 1 0 0 0,-1-1 0 0 0,1 1 0 0 0,0-1 0 0 0,-1 0 0 0 0,0 1 0 0 0,1-1 0 0 0,-1 0 0 0 0,1-3 0 0 0,4-12-3864 0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024"/>
    </inkml:context>
    <inkml:brush xml:id="br0">
      <inkml:brushProperty name="width" value="0.05" units="cm"/>
      <inkml:brushProperty name="height" value="0.05" units="cm"/>
      <inkml:brushProperty name="color" value="#E71224"/>
    </inkml:brush>
  </inkml:definitions>
  <inkml:trace contextRef="#ctx0" brushRef="#br0">54 122 4082 0 0</inkml:trace>
  <inkml:trace contextRef="#ctx0" brushRef="#br0" timeOffset="1">54 122 4082 0 0,'-54'-118'6275'0'0,"54"114"-4675"0"0,3 4-1808 0 0,11 0 208 0 0,-7 6-96 0 0,-1 1-480 0 0,1 1-1601 0 0,-7 1-3137 0 0</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757"/>
    </inkml:context>
    <inkml:brush xml:id="br0">
      <inkml:brushProperty name="width" value="0.05" units="cm"/>
      <inkml:brushProperty name="height" value="0.05" units="cm"/>
      <inkml:brushProperty name="color" value="#E71224"/>
    </inkml:brush>
  </inkml:definitions>
  <inkml:trace contextRef="#ctx0" brushRef="#br0">6 4 2193 0 0,'0'0'5341'0'0,"0"-4"-2462"0"0,-2 12-2618 0 0,1 1-1 0 0,0-1 1 0 0,0 0 0 0 0,1 0 0 0 0,0 0 0 0 0,1 9 0 0 0,0 7-204 0 0,-1-21-55 0 0,0-1-1 0 0,0 0 0 0 0,0 0 0 0 0,0 1 1 0 0,1-1-1 0 0,-1 0 0 0 0,1 1 0 0 0,-1-1 1 0 0,1 0-1 0 0,0 0 0 0 0,0 0 0 0 0,0 0 1 0 0,0 0-1 0 0,0 0 0 0 0,1 0 1 0 0,-1 0-1 0 0,0 0 0 0 0,1 0 0 0 0,-1-1 1 0 0,1 1-1 0 0,0-1 0 0 0,0 1 0 0 0,0-1 1 0 0,-1 0-1 0 0,1 1 0 0 0,0-1 0 0 0,1 0 1 0 0,3 1-1 0 0,3 1 44 0 0,0-2 1 0 0,0 1-1 0 0,1-1 1 0 0,-1 0-1 0 0,16-1 1 0 0,-22 0-1 0 0,1 0-22 0 0,1-1-1 0 0,-1 1 1 0 0,0-1 0 0 0,0 0-1 0 0,0 0 1 0 0,0-1 0 0 0,0 1-1 0 0,0-1 1 0 0,0 0-1 0 0,-1 0 1 0 0,1 0 0 0 0,-1-1-1 0 0,1 1 1 0 0,-1-1 0 0 0,0 1-1 0 0,0-1 1 0 0,0 0 0 0 0,0-1-1 0 0,0 1 1 0 0,-1 0-1 0 0,0-1 1 0 0,1 1 0 0 0,-1-1-1 0 0,-1 0 1 0 0,1 0 0 0 0,0 0-1 0 0,-1 0 1 0 0,0 0 0 0 0,0 0-1 0 0,1-8 1 0 0,-2 11-6 0 0,0 0 1 0 0,0-1 0 0 0,0 1 0 0 0,0 0-1 0 0,-1-1 1 0 0,1 1 0 0 0,0 0-1 0 0,-1 0 1 0 0,1 0 0 0 0,-1-1-1 0 0,0 1 1 0 0,1 0 0 0 0,-1 0-1 0 0,0 0 1 0 0,1 0 0 0 0,-1 0 0 0 0,0 0-1 0 0,0 0 1 0 0,-1-1 0 0 0,0 1 17 0 0,0-1 1 0 0,-1 1 0 0 0,1-1 0 0 0,-1 1-1 0 0,1 0 1 0 0,-1 0 0 0 0,1 0-1 0 0,-6-1 1 0 0,-5 1 31 0 0,0-1 0 0 0,0 2 0 0 0,-16 0 0 0 0,14 0-140 0 0,14 0-43 0 0,-1 0 1 0 0,0 1 0 0 0,0-1 0 0 0,1 0-1 0 0,-1 0 1 0 0,0 1 0 0 0,1-1 0 0 0,-1 1 0 0 0,1 0-1 0 0,-1-1 1 0 0,0 1 0 0 0,1 0 0 0 0,-1 0-1 0 0,-1 2 1 0 0,-8 11-4015 0 0,10-6-488 0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2.239"/>
    </inkml:context>
    <inkml:brush xml:id="br0">
      <inkml:brushProperty name="width" value="0.05" units="cm"/>
      <inkml:brushProperty name="height" value="0.05" units="cm"/>
      <inkml:brushProperty name="color" value="#E71224"/>
    </inkml:brush>
  </inkml:definitions>
  <inkml:trace contextRef="#ctx0" brushRef="#br0">0 12 7411 0 0,'0'0'2196'0'0,"3"17"-2057"0"0,12 53-46 0 0,-14-64 2 0 0,0-1 1 0 0,0 1-1 0 0,1-1 0 0 0,0 0 0 0 0,0 1 1 0 0,0-1-1 0 0,1 0 0 0 0,4 6 0 0 0,-1-2 489 0 0,-6-8-531 0 0,0-1 0 0 0,0 0 0 0 0,0 0 0 0 0,0 1 0 0 0,0-1 0 0 0,1 0-1 0 0,-1 0 1 0 0,0 0 0 0 0,0 0 0 0 0,0 1 0 0 0,0-1 0 0 0,1 0 0 0 0,-1 0 0 0 0,0 0 0 0 0,0 0 0 0 0,1 0 0 0 0,-1 0 0 0 0,0 1 0 0 0,0-1 0 0 0,1 0 0 0 0,-1 0 0 0 0,0 0 0 0 0,0 0 0 0 0,1 0 0 0 0,-1 0 0 0 0,0 0-1 0 0,0 0 1 0 0,1 0 0 0 0,-1 0 0 0 0,0 0 0 0 0,0 0 0 0 0,1 0 0 0 0,-1 0 0 0 0,0-1 0 0 0,0 1 0 0 0,0 0 0 0 0,1 0 0 0 0,-1 0 0 0 0,0 0 0 0 0,0 0 0 0 0,1 0 0 0 0,-1-1 0 0 0,0 1 0 0 0,0 0 0 0 0,0 0 0 0 0,0 0-1 0 0,1-1 1 0 0,-1 1 0 0 0,0 0 0 0 0,0 0 0 0 0,0 0 0 0 0,0-1 0 0 0,0 1 0 0 0,0 0 0 0 0,0 0 0 0 0,1-1 0 0 0,-1 1 0 0 0,0 0 0 0 0,0 0 0 0 0,0-1 0 0 0,0 1 0 0 0,0 0 0 0 0,0-1 0 0 0,5-16 485 0 0,0-8-283 0 0,-3 11-166 0 0,1-1-1 0 0,1 0 1 0 0,0 1 0 0 0,8-19 0 0 0,-11 31-81 0 0,0 1 0 0 0,0-1 1 0 0,0 1-1 0 0,0-1 0 0 0,0 1 0 0 0,1-1 0 0 0,-1 1 0 0 0,0-1 1 0 0,1 1-1 0 0,-1 0 0 0 0,1 0 0 0 0,-1 0 0 0 0,1 0 1 0 0,-1 0-1 0 0,1 0 0 0 0,0 0 0 0 0,3 0 0 0 0,-2 0-10 0 0,1 0 0 0 0,-1 1 0 0 0,1-1 0 0 0,-1 1 0 0 0,1 0 0 0 0,-1 0 0 0 0,1 1 0 0 0,6 1 0 0 0,1 0 8 0 0,-1 2 0 0 0,0-1 0 0 0,0 1 0 0 0,0 1 0 0 0,13 7 0 0 0,-15-6 10 0 0,0-1 0 0 0,0 1 1 0 0,0 0-1 0 0,0 0 0 0 0,-1 1 0 0 0,8 9 0 0 0,-12-12-75 0 0,0 1 0 0 0,0-1 1 0 0,-1 1-1 0 0,0-1 0 0 0,1 1 0 0 0,-2 0 1 0 0,1 0-1 0 0,0 0 0 0 0,-1 0 1 0 0,0 0-1 0 0,0 0 0 0 0,-1 0 0 0 0,1 9 1 0 0,-1-1-531 0 0,1-8-20 0 0,-1 0 1 0 0,0 0 0 0 0,0 0-1 0 0,-1 0 1 0 0,1 0 0 0 0,-1 0-1 0 0,-2 6 1 0 0,0-6-1271 0 0,0 1 0 0 0,0-1 0 0 0,-8 10 1 0 0,11-15 1872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5.932"/>
    </inkml:context>
    <inkml:brush xml:id="br0">
      <inkml:brushProperty name="width" value="0.05" units="cm"/>
      <inkml:brushProperty name="height" value="0.05" units="cm"/>
      <inkml:brushProperty name="color" value="#E71224"/>
    </inkml:brush>
  </inkml:definitions>
  <inkml:trace contextRef="#ctx0" brushRef="#br0">8 1 10261 0 0,'0'0'5178'0'0,"0"4"-5106"0"0,0 118 2526 0 0,-6 297-1210 0 0,5-341-2640 0 0,1-45-6041 0 0,0-26 3416 0 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6.507"/>
    </inkml:context>
    <inkml:brush xml:id="br0">
      <inkml:brushProperty name="width" value="0.05" units="cm"/>
      <inkml:brushProperty name="height" value="0.05" units="cm"/>
      <inkml:brushProperty name="color" value="#E71224"/>
    </inkml:brush>
  </inkml:definitions>
  <inkml:trace contextRef="#ctx0" brushRef="#br0">2 1 7732 0 0,'0'0'7189'0'0,"0"4"-6756"0"0,-1 86 916 0 0,2 116 210 0 0,6-166-1487 0 0,-5-29-158 0 0,0 0 1 0 0,0 15 0 0 0,0-19-1361 0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7.552"/>
    </inkml:context>
    <inkml:brush xml:id="br0">
      <inkml:brushProperty name="width" value="0.05" units="cm"/>
      <inkml:brushProperty name="height" value="0.05" units="cm"/>
      <inkml:brushProperty name="color" value="#E71224"/>
    </inkml:brush>
  </inkml:definitions>
  <inkml:trace contextRef="#ctx0" brushRef="#br0">1 30 6531 0 0,'0'0'5397'0'0,"0"0"-5349"0"0,0 0 0 0 0,0-1-1 0 0,0 1 1 0 0,0 0 0 0 0,0 0 0 0 0,0 0 0 0 0,0 0-1 0 0,0-1 1 0 0,0 1 0 0 0,0 0 0 0 0,0 0 0 0 0,0 0-1 0 0,0 0 1 0 0,0-1 0 0 0,0 1 0 0 0,0 0 0 0 0,0 0-1 0 0,0 0 1 0 0,0-1 0 0 0,0 1 0 0 0,0 0-1 0 0,1 0 1 0 0,-1 0 0 0 0,0 0 0 0 0,0 0 0 0 0,0-1-1 0 0,0 1 1 0 0,0 0 0 0 0,0 0 0 0 0,1 0 0 0 0,-1 0-1 0 0,0 0 1 0 0,0-1 0 0 0,5 0 222 0 0,0 0 0 0 0,0 1 0 0 0,-1-1 0 0 0,1 1-1 0 0,0 0 1 0 0,9 1 0 0 0,7-1 165 0 0,249-9 1189 0 0,189-3-2147 0 0,-398 12-6466 0 0,-44 0 2218 0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114"/>
    </inkml:context>
    <inkml:brush xml:id="br0">
      <inkml:brushProperty name="width" value="0.05" units="cm"/>
      <inkml:brushProperty name="height" value="0.05" units="cm"/>
      <inkml:brushProperty name="color" value="#E71224"/>
    </inkml:brush>
  </inkml:definitions>
  <inkml:trace contextRef="#ctx0" brushRef="#br0">1 30 7748 0 0,'0'0'5936'0'0,"26"-1"-5566"0"0,86-3 20 0 0,552-12 2483 0 0,-466 12-2480 0 0,-98 1-1716 0 0,1 1-4811 0 0,-81 2 3036 0 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612"/>
    </inkml:context>
    <inkml:brush xml:id="br0">
      <inkml:brushProperty name="width" value="0.05" units="cm"/>
      <inkml:brushProperty name="height" value="0.05" units="cm"/>
      <inkml:brushProperty name="color" value="#E71224"/>
    </inkml:brush>
  </inkml:definitions>
  <inkml:trace contextRef="#ctx0" brushRef="#br0">0 33 12390 0 0,'0'0'880'0'0,"32"0"-525"0"0,101 0-19 0 0,48 1 1438 0 0,109-2-619 0 0,-72-15-695 0 0,-73 4-1529 0 0,-47 9-2990 0 0,-70 3 628 0 0,-3-2-1134 0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109"/>
    </inkml:context>
    <inkml:brush xml:id="br0">
      <inkml:brushProperty name="width" value="0.05" units="cm"/>
      <inkml:brushProperty name="height" value="0.05" units="cm"/>
      <inkml:brushProperty name="color" value="#E71224"/>
    </inkml:brush>
  </inkml:definitions>
  <inkml:trace contextRef="#ctx0" brushRef="#br0">0 10 2049 0 0,'0'0'9714'0'0,"26"0"-9197"0"0,84 0-85 0 0,613-9 3402 0 0,-425 9-11013 0 0,-254 0 2646 0 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592"/>
    </inkml:context>
    <inkml:brush xml:id="br0">
      <inkml:brushProperty name="width" value="0.05" units="cm"/>
      <inkml:brushProperty name="height" value="0.05" units="cm"/>
      <inkml:brushProperty name="color" value="#E71224"/>
    </inkml:brush>
  </inkml:definitions>
  <inkml:trace contextRef="#ctx0" brushRef="#br0">0 58 1649 0 0,'0'0'11872'0'0,"27"0"-11395"0"0,86-1-106 0 0,260-29 3130 0 0,-31 4-3248 0 0,-308 26-287 0 0,-9-1-498 0 0,0 1-1 0 0,0 2 1 0 0,30 5-1 0 0,-34-3-2537 0 0,1-1 1 0 0,43 1-1 0 0,-35-4-1935 0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045"/>
    </inkml:context>
    <inkml:brush xml:id="br0">
      <inkml:brushProperty name="width" value="0.05" units="cm"/>
      <inkml:brushProperty name="height" value="0.05" units="cm"/>
      <inkml:brushProperty name="color" value="#E71224"/>
    </inkml:brush>
  </inkml:definitions>
  <inkml:trace contextRef="#ctx0" brushRef="#br0">1 22 1553 0 0,'0'0'11576'0'0,"19"-1"-10920"0"0,-16 0-618 0 0,152-4 1671 0 0,143-4 811 0 0,110 3-2913 0 0,-390 8-206 0 0,1 0 0 0 0,0 1 0 0 0,25 7 0 0 0,22 11-3936 0 0,-30-10-220 0 0,-25-7 847 0 0</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528"/>
    </inkml:context>
    <inkml:brush xml:id="br0">
      <inkml:brushProperty name="width" value="0.05" units="cm"/>
      <inkml:brushProperty name="height" value="0.05" units="cm"/>
      <inkml:brushProperty name="color" value="#E71224"/>
    </inkml:brush>
  </inkml:definitions>
  <inkml:trace contextRef="#ctx0" brushRef="#br0">160 0 6403 0 0,'0'0'5744'0'0,"0"3"-5349"0"0,-1 11 280 0 0,-1 0 0 0 0,0 0 1 0 0,-1 0-1 0 0,-7 21 1 0 0,3-14-215 0 0,-3 25 1 0 0,-21 113 425 0 0,-5 27-682 0 0,35-180-280 0 0,-11 68-553 0 0,9-66-287 0 0,1 1 0 0 0,-1-1-1 0 0,-1 0 1 0 0,0 0-1 0 0,0 0 1 0 0,-7 10 0 0 0,-2-1-3058 0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922"/>
    </inkml:context>
    <inkml:brush xml:id="br0">
      <inkml:brushProperty name="width" value="0.05" units="cm"/>
      <inkml:brushProperty name="height" value="0.05" units="cm"/>
      <inkml:brushProperty name="color" value="#E71224"/>
    </inkml:brush>
  </inkml:definitions>
  <inkml:trace contextRef="#ctx0" brushRef="#br0">102 1 2897 0 0,'0'0'9151'0'0,"0"16"-8876"0"0,0 104 715 0 0,1-55 344 0 0,-2 75-163 0 0,0-132-1210 0 0,-1 0-1 0 0,1 0 1 0 0,-1 0 0 0 0,-1 0 0 0 0,0 0-1 0 0,0-1 1 0 0,0 1 0 0 0,-7 10-1 0 0,1-4-1102 0 0,0-1-1 0 0,-2 0 0 0 0,-13 15 0 0 0,4-8-2515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2.638"/>
    </inkml:context>
    <inkml:brush xml:id="br0">
      <inkml:brushProperty name="width" value="0.05" units="cm"/>
      <inkml:brushProperty name="height" value="0.05" units="cm"/>
      <inkml:brushProperty name="color" value="#E71224"/>
    </inkml:brush>
  </inkml:definitions>
  <inkml:trace contextRef="#ctx0" brushRef="#br0">1 0 8724 0 0,'0'0'3271'0'0,"9"3"-3135"0"0,37 7 1637 0 0,53 5 0 0 0,283-10-336 0 0,-229-6-4112 0 0,-84 1-3912 0 0,-36 0 848 0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136"/>
    </inkml:context>
    <inkml:brush xml:id="br0">
      <inkml:brushProperty name="width" value="0.05" units="cm"/>
      <inkml:brushProperty name="height" value="0.05" units="cm"/>
      <inkml:brushProperty name="color" value="#E71224"/>
    </inkml:brush>
  </inkml:definitions>
  <inkml:trace contextRef="#ctx0" brushRef="#br0">0 0 8100 0 0,'0'0'3030'0'0,"13"1"-2189"0"0,205 11 2483 0 0,289 4-1889 0 0,-272-9-2987 0 0,-79-6-5273 0 0,-114-1 2378 0 0</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557"/>
    </inkml:context>
    <inkml:brush xml:id="br0">
      <inkml:brushProperty name="width" value="0.05" units="cm"/>
      <inkml:brushProperty name="height" value="0.05" units="cm"/>
      <inkml:brushProperty name="color" value="#E71224"/>
    </inkml:brush>
  </inkml:definitions>
  <inkml:trace contextRef="#ctx0" brushRef="#br0">0 1 8548 0 0,'0'0'3113'0'0,"25"3"-2531"0"0,78 12 104 0 0,30-1 930 0 0,136-4 1 0 0,-51-4-1460 0 0,-94 8-179 0 0,-51-5-1566 0 0,0-3-3306 0 0,-39-6 826 0 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010"/>
    </inkml:context>
    <inkml:brush xml:id="br0">
      <inkml:brushProperty name="width" value="0.05" units="cm"/>
      <inkml:brushProperty name="height" value="0.05" units="cm"/>
      <inkml:brushProperty name="color" value="#E71224"/>
    </inkml:brush>
  </inkml:definitions>
  <inkml:trace contextRef="#ctx0" brushRef="#br0">0 39 4322 0 0,'0'0'7507'0'0,"29"0"-6960"0"0,93 0-29 0 0,268-22 2399 0 0,-235 9-2558 0 0,97 10-415 0 0,-138 14-1559 0 0,1 1-4083 0 0,-77-12 1843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496"/>
    </inkml:context>
    <inkml:brush xml:id="br0">
      <inkml:brushProperty name="width" value="0.05" units="cm"/>
      <inkml:brushProperty name="height" value="0.05" units="cm"/>
      <inkml:brushProperty name="color" value="#E71224"/>
    </inkml:brush>
  </inkml:definitions>
  <inkml:trace contextRef="#ctx0" brushRef="#br0">1 86 3538 0 0,'0'0'7977'0'0,"33"-2"-7457"0"0,105-6 67 0 0,-88 4 632 0 0,76-15 0 0 0,-79 10-883 0 0,45-8-96 0 0,1 5 1 0 0,103-1-1 0 0,-99 11-266 0 0,106 4-2726 0 0,-118 10-5238 0 0,-68-10 4370 0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5"/>
    </inkml:context>
    <inkml:brush xml:id="br0">
      <inkml:brushProperty name="width" value="0.05" units="cm"/>
      <inkml:brushProperty name="height" value="0.05" units="cm"/>
      <inkml:brushProperty name="color" value="#E71224"/>
    </inkml:brush>
  </inkml:definitions>
  <inkml:trace contextRef="#ctx0" brushRef="#br0">1 23 6435 0 0,'0'0'6840'0'0,"7"0"-6829"0"0,69 1 1115 0 0,134-4 1291 0 0,-184 0-2425 0 0,-1-1 0 0 0,32-8 0 0 0,-52 11-136 0 0</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6.254"/>
    </inkml:context>
    <inkml:brush xml:id="br0">
      <inkml:brushProperty name="width" value="0.05" units="cm"/>
      <inkml:brushProperty name="height" value="0.05" units="cm"/>
      <inkml:brushProperty name="color" value="#E71224"/>
    </inkml:brush>
  </inkml:definitions>
  <inkml:trace contextRef="#ctx0" brushRef="#br0">85 0 7235 0 0,'0'0'4568'0'0,"0"2"-4408"0"0,-1 4-56 0 0,0 0 1 0 0,-1 0-1 0 0,1 0 0 0 0,-2-1 1 0 0,1 1-1 0 0,-5 8 1 0 0,-3 5 455 0 0,5-2-186 0 0,0-1 0 0 0,1 1 1 0 0,1 0-1 0 0,0 0 0 0 0,1 0 0 0 0,1 26 0 0 0,-3 18-498 0 0,4-59-138 0 0,0 0 0 0 0,0 0 1 0 0,-1 0-1 0 0,1 0 1 0 0,-1 0-1 0 0,1 0 0 0 0,-1 0 1 0 0,1 0-1 0 0,-1 0 1 0 0,0 0-1 0 0,0-1 1 0 0,0 1-1 0 0,0 0 0 0 0,0 0 1 0 0,-1-1-1 0 0,1 1 1 0 0,0-1-1 0 0,-1 1 0 0 0,-2 1 1 0 0,-7 5-5230 0 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47.060"/>
    </inkml:context>
    <inkml:brush xml:id="br0">
      <inkml:brushProperty name="width" value="0.05" units="cm"/>
      <inkml:brushProperty name="height" value="0.05" units="cm"/>
      <inkml:brushProperty name="color" value="#E71224"/>
    </inkml:brush>
  </inkml:definitions>
  <inkml:trace contextRef="#ctx0" brushRef="#br0">74 21 6931 0 0,'0'0'3919'0'0,"2"-4"-3342"0"0,-2 4-507 0 0,0-1-19 0 0,0 0-1 0 0,1 0 1 0 0,-1-1 0 0 0,1 1 0 0 0,-1 0 0 0 0,1 0-1 0 0,-1 0 1 0 0,1 0 0 0 0,0 0 0 0 0,-1 0 0 0 0,1 1-1 0 0,0-1 1 0 0,0 0 0 0 0,0 0 0 0 0,1-1 632 0 0,1 3 1085 0 0,-2-1-1753 0 0,-1 0 1 0 0,0 0-1 0 0,0 0 1 0 0,0 0 0 0 0,1 0-1 0 0,-1 0 1 0 0,0 1 0 0 0,0-1-1 0 0,0 0 1 0 0,0 0 0 0 0,1 0-1 0 0,-1 0 1 0 0,0 0-1 0 0,0 0 1 0 0,0 0 0 0 0,0 0-1 0 0,1 0 1 0 0,-1 0 0 0 0,0 0-1 0 0,0 1 1 0 0,0-1-1 0 0,0 0 1 0 0,0 0 0 0 0,0 0-1 0 0,1 0 1 0 0,-1 0 0 0 0,0 1-1 0 0,0-1 1 0 0,0 0 0 0 0,0 0-1 0 0,0 0 1 0 0,0 0-1 0 0,0 1 1 0 0,0-1 0 0 0,0 0-1 0 0,0 0 1 0 0,0 0 0 0 0,0 1-1 0 0,0-1 1 0 0,0 0 0 0 0,0 0-1 0 0,0 0 1 0 0,0 0-1 0 0,0 1 1 0 0,0-1 0 0 0,0 0-1 0 0,0 0 1 0 0,0 0 0 0 0,0 0-1 0 0,0 1 1 0 0,0-1 0 0 0,0 0-1 0 0,-1 0 1 0 0,2 38 557 0 0,-2-1 0 0 0,-2 0 0 0 0,-13 67 0 0 0,7-73-510 0 0,-6 25 133 0 0,-12 93 1 0 0,20-121-1500 0 0,7-27 1196 0 0,0 0 0 0 0,-1 0 0 0 0,1 0 0 0 0,0 0 0 0 0,-1 0 0 0 0,1-1 0 0 0,-1 1 0 0 0,1 0 0 0 0,-1 0 0 0 0,1 0 0 0 0,-1-1 0 0 0,0 1 0 0 0,1 0 0 0 0,-1-1 0 0 0,0 1 0 0 0,0-1 0 0 0,1 1 0 0 0,-1-1 0 0 0,0 1 0 0 0,0-1 0 0 0,0 1 0 0 0,0-1 0 0 0,1 0 0 0 0,-2 1 0 0 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0.277"/>
    </inkml:context>
    <inkml:brush xml:id="br0">
      <inkml:brushProperty name="width" value="0.05" units="cm"/>
      <inkml:brushProperty name="height" value="0.05" units="cm"/>
      <inkml:brushProperty name="color" value="#E71224"/>
    </inkml:brush>
  </inkml:definitions>
  <inkml:trace contextRef="#ctx0" brushRef="#br0">0 26 4274 0 0,'0'0'3868'0'0,"8"-3"-3051"0"0,-5 7-601 0 0,-1 0 0 0 0,0 1 0 0 0,0-1 0 0 0,-1 0 0 0 0,1 1 0 0 0,-1-1 0 0 0,0 1 0 0 0,0-1 0 0 0,0 1 0 0 0,0 4 0 0 0,1 4 9 0 0,11 71 724 0 0,14 59 39 0 0,-23-127-954 0 0,1 0 0 0 0,1 0 1 0 0,0-1-1 0 0,1 0 0 0 0,1 0 1 0 0,15 22-1 0 0,-16-30 311 0 0,-1-19-110 0 0,-6 11-257 0 0,3-9 56 0 0,-1-1 0 0 0,0 1 0 0 0,2-21 0 0 0,1-13 16 0 0,2 3-28 0 0,3-75 0 0 0,-5 42 6 0 0,-4 67-30 0 0,0 0 0 0 0,0-1 0 0 0,1 1 0 0 0,0 0 0 0 0,0 0 0 0 0,1 0 0 0 0,0 0 0 0 0,1 0 0 0 0,-1 1 0 0 0,1-1 0 0 0,6-7 0 0 0,-9 13-6 0 0,2-9 16 0 0,-3 9-37 0 0,0 7-361 0 0,0 26 353 0 0,-1 8 67 0 0,2 0 0 0 0,9 57 1 0 0,-2-40 92 0 0,1 59-1 0 0,-9-113-119 0 0,2 18 10 0 0,0 0 0 0 0,1 1-1 0 0,2-2 1 0 0,10 35 0 0 0,-12-50-70 0 0,0 2-312 0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140"/>
    </inkml:context>
    <inkml:brush xml:id="br0">
      <inkml:brushProperty name="width" value="0.05" units="cm"/>
      <inkml:brushProperty name="height" value="0.05" units="cm"/>
      <inkml:brushProperty name="color" value="#E71224"/>
    </inkml:brush>
  </inkml:definitions>
  <inkml:trace contextRef="#ctx0" brushRef="#br0">236 3 9925 0 0,'0'0'4887'0'0,"0"-2"-4503"0"0,2 1-460 0 0,1 8 74 0 0,7 19 165 0 0,12 35 433 0 0,7 37 43 0 0,10 30-481 0 0,-37-123-131 0 0,-1 1 0 0 0,1 0-1 0 0,-1 0 1 0 0,-1 0 0 0 0,1-1-1 0 0,-1 11 1 0 0,-1-16-24 0 0,1 1-1 0 0,-1-1 1 0 0,0 1-1 0 0,1-1 1 0 0,-1 1-1 0 0,0-1 1 0 0,0 0-1 0 0,1 1 1 0 0,-1-1-1 0 0,0 0 1 0 0,0 1-1 0 0,0-1 1 0 0,0 0-1 0 0,1 0 1 0 0,-1 0-1 0 0,0 0 1 0 0,0 0-1 0 0,-1 0 1 0 0,-1 1 2 0 0,-235 32-287 0 0,148-21 204 0 0,208-9-626 0 0,233-2 843 0 0,-344-1-399 0 0,1 0 0 0 0,0 0-1 0 0,-1-1 1 0 0,1-1 0 0 0,10-2 0 0 0,-13 3-499 0 0,-1-1 1 0 0,0 0-1 0 0,0 0 0 0 0,0-1 0 0 0,0 1 0 0 0,5-5 0 0 0,2-4-3619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00.558"/>
    </inkml:context>
    <inkml:brush xml:id="br0">
      <inkml:brushProperty name="width" value="0.35" units="cm"/>
      <inkml:brushProperty name="height" value="0.35" units="cm"/>
    </inkml:brush>
  </inkml:definitions>
  <inkml:trace contextRef="#ctx0" brushRef="#br0">224 440 6867 0 0,'0'0'1430'0'0,"-10"-8"-875"0"0,-29-27-293 0 0,38 34-246 0 0,0 0 1 0 0,0 0-1 0 0,0 0 1 0 0,0 0-1 0 0,0 0 1 0 0,0 0-1 0 0,1 0 1 0 0,-1 0-1 0 0,0 0 1 0 0,0-1 0 0 0,1 1-1 0 0,-1 0 1 0 0,1 0-1 0 0,-1-1 1 0 0,1 1-1 0 0,0 0 1 0 0,-1-1-1 0 0,1 1 1 0 0,0-1 0 0 0,0 1-1 0 0,0-2 1 0 0,0-5 235 0 0,-4-23 605 0 0,2 1-1 0 0,1-47 1 0 0,2 35 364 0 0,-1 41-1203 0 0,0 1 0 0 0,0 0 0 0 0,0-1 1 0 0,0 1-1 0 0,1 0 0 0 0,-1 0 0 0 0,0-1 0 0 0,0 1 1 0 0,0 0-1 0 0,0-1 0 0 0,0 1 0 0 0,-1 0 0 0 0,1-1 1 0 0,0 1-1 0 0,0 0 0 0 0,0 0 0 0 0,0-1 0 0 0,0 1 0 0 0,0 0 1 0 0,0-1-1 0 0,0 1 0 0 0,-1 0 0 0 0,1 0 0 0 0,0-1 1 0 0,0 1-1 0 0,0 0 0 0 0,-1 0 0 0 0,1 0 0 0 0,0-1 1 0 0,0 1-1 0 0,-1 0 0 0 0,1 0 0 0 0,0 0 0 0 0,0 0 1 0 0,-1 0-1 0 0,1-1 0 0 0,0 1 0 0 0,0 0 0 0 0,-1 0 0 0 0,1 0 1 0 0,0 0-1 0 0,-1 0 0 0 0,1 0 0 0 0,-1 0 11 0 0,0 1 1 0 0,0-1-1 0 0,1 1 0 0 0,-1-1 0 0 0,0 1 0 0 0,0-1 1 0 0,1 1-1 0 0,-1-1 0 0 0,0 1 0 0 0,1-1 0 0 0,-1 1 1 0 0,1 0-1 0 0,-1 0 0 0 0,1-1 0 0 0,-1 1 0 0 0,1 1 0 0 0,-17 32 96 0 0,-22 72 0 0 0,22-57-68 0 0,8-20-15 0 0,2-8-163 0 0,10-44 190 0 0,12-31 114 0 0,-10 38-158 0 0,0 1 0 0 0,2-17 0 0 0,-1-6 66 0 0,-2 0 0 0 0,-2 0 0 0 0,-4-66-1 0 0,2 104-83 0 0,0-1 1 0 0,0 1-1 0 0,0-1 0 0 0,0 1 1 0 0,0 0-1 0 0,0-1 0 0 0,0 1 0 0 0,0-1 1 0 0,0 1-1 0 0,0-1 0 0 0,0 1 0 0 0,0-1 1 0 0,-1 1-1 0 0,1 0 0 0 0,0-1 1 0 0,0 1-1 0 0,0-1 0 0 0,-1 1 0 0 0,1 0 1 0 0,0-1-1 0 0,0 1 0 0 0,-1 0 1 0 0,1-1-1 0 0,0 1 0 0 0,-1 0 0 0 0,1-1 1 0 0,0 1-1 0 0,-1 0 0 0 0,1 0 0 0 0,0-1 1 0 0,-1 1-1 0 0,1 0 0 0 0,-1 0 1 0 0,1 0-1 0 0,0 0 0 0 0,-1-1 0 0 0,1 1 1 0 0,-1 0-1 0 0,1 0 0 0 0,-1 0 0 0 0,1 0 1 0 0,-1 0-1 0 0,1 0 0 0 0,-2 1-6 0 0,1 0 0 0 0,0-1-1 0 0,0 1 1 0 0,0 0 0 0 0,-1 0 0 0 0,1 0-1 0 0,0 0 1 0 0,0 0 0 0 0,1 0-1 0 0,-1 0 1 0 0,0 0 0 0 0,0 0 0 0 0,0 0-1 0 0,0 3 1 0 0,-9 16 12 0 0,2 1 0 0 0,0 0 0 0 0,-8 39 0 0 0,-6 68 47 0 0,20-101-66 0 0,0 31 1 0 0,2-52-5 0 0,0-8-164 0 0,2-19 263 0 0,0 0 0 0 0,1 1 0 0 0,12-38 0 0 0,3-25-42 0 0,-13 31-19 0 0,-2-69 0 0 0,-3 91-148 0 0,-9 236 43 0 0,1 4 79 0 0,8-37-4 0 0,0-172 0 0 0,0 1 1 0 0,0 0 0 0 0,0-1-1 0 0,0 1 1 0 0,0-1 0 0 0,0 1-1 0 0,1 0 1 0 0,-1-1-1 0 0,1 1 1 0 0,-1-1 0 0 0,1 1-1 0 0,-1-1 1 0 0,1 1 0 0 0,0-1-1 0 0,0 1 1 0 0,0-1 0 0 0,0 0-1 0 0,1 2 1 0 0,0-2-12 0 0,0 0-1 0 0,-1 0 1 0 0,1 0 0 0 0,0 0 0 0 0,0 0 0 0 0,0-1-1 0 0,0 1 1 0 0,0-1 0 0 0,0 1 0 0 0,0-1 0 0 0,0 0-1 0 0,0 0 1 0 0,0 0 0 0 0,3 0 0 0 0,-1 0 14 0 0,0-1 0 0 0,0 0 0 0 0,0 0 0 0 0,0 0 0 0 0,0-1 0 0 0,0 1 1 0 0,-1-1-1 0 0,1 0 0 0 0,0 0 0 0 0,-1 0 0 0 0,1 0 0 0 0,5-6 0 0 0,7-6 77 0 0,17-19-1 0 0,-27 26-68 0 0,3-3 1 0 0,93-105 202 0 0,-101 112-215 0 0,-2 7 1 0 0,1 0 0 0 0,-1 0 0 0 0,0 0 0 0 0,-1 0 0 0 0,1 0 0 0 0,0 0 1 0 0,-1 0-1 0 0,0-1 0 0 0,0 1 0 0 0,0-1 0 0 0,0 1 0 0 0,-1-1 0 0 0,0 0 0 0 0,1 0 0 0 0,-5 3 0 0 0,-8 13 25 0 0,3-4 6 0 0,2-3-13 0 0,1 0 0 0 0,1 1 0 0 0,-1-1 0 0 0,2 2 0 0 0,-11 25 1 0 0,17-38-21 0 0,1 0 0 0 0,-1 1 0 0 0,1-1 0 0 0,0 1 0 0 0,0-1 1 0 0,0 1-1 0 0,0-1 0 0 0,0 0 0 0 0,0 1 0 0 0,0-1 1 0 0,1 3-1 0 0,-1-4-1 0 0,0 1 0 0 0,0-1 0 0 0,1 1 0 0 0,-1-1 0 0 0,0 1-1 0 0,1-1 1 0 0,-1 1 0 0 0,0-1 0 0 0,1 1 0 0 0,-1-1 0 0 0,1 0 0 0 0,-1 1 0 0 0,1-1 0 0 0,-1 1 0 0 0,1-1 0 0 0,-1 0 0 0 0,1 0 0 0 0,-1 1 0 0 0,2-1 0 0 0,1 1-10 0 0,0-1 0 0 0,-1 0 1 0 0,1 0-1 0 0,0 0 0 0 0,0 0 1 0 0,0 0-1 0 0,0 0 0 0 0,0-1 1 0 0,4-1-1 0 0,11-2 34 0 0,-1-2 0 0 0,1-1 1 0 0,-1 0-1 0 0,22-13 0 0 0,63-44 100 0 0,-100 62-118 0 0,129-95 106 0 0,-130 97-106 0 0,-1 0 0 0 0,0 0 0 0 0,1 0 0 0 0,-1 0 0 0 0,0 0 0 0 0,0-1 0 0 0,1 1 0 0 0,-1 0 0 0 0,0 0 0 0 0,1-1 0 0 0,-1 1 1 0 0,0 0-1 0 0,0 0 0 0 0,0-1 0 0 0,1 1 0 0 0,-1 0 0 0 0,0-1 0 0 0,0 1 0 0 0,0 0 0 0 0,0-1 0 0 0,1 1 0 0 0,-1 0 0 0 0,0-1 0 0 0,0 1 0 0 0,0 0 0 0 0,0-1 0 0 0,0 1 0 0 0,0 0 0 0 0,0-1 1 0 0,0 1-1 0 0,0-1 0 0 0,-1 1 0 0 0,0 0 0 0 0,1 0 0 0 0,-1 0 1 0 0,0 0-1 0 0,1 0 0 0 0,-1 0 0 0 0,0 0 1 0 0,1 0-1 0 0,-1 0 0 0 0,0 0 0 0 0,1 0 1 0 0,-1 1-1 0 0,0-1 0 0 0,1 0 0 0 0,-1 0 0 0 0,1 1 1 0 0,-2 0-1 0 0,-31 18 29 0 0,1 2 0 0 0,0 2 0 0 0,2 1-1 0 0,-28 28 1 0 0,55-50-38 0 0,0 0 0 0 0,0 1 0 0 0,1-1 0 0 0,-1 1 0 0 0,1 0 0 0 0,-1 0 0 0 0,1 0 0 0 0,0 0 0 0 0,0 0 0 0 0,0 1 0 0 0,1-1 0 0 0,-1 0 0 0 0,1 1 0 0 0,0 0 0 0 0,0-1 0 0 0,0 1 0 0 0,0-1 0 0 0,1 1 0 0 0,-1 4 0 0 0,8-7-133 0 0,24-3 136 0 0,-1-1-1 0 0,0-2 1 0 0,0-1 0 0 0,-1-1-1 0 0,0-1 1 0 0,33-15 0 0 0,219-99 179 0 0,-203 87-162 0 0,-67 29-35 0 0,-14 7-33 0 0,-19 7 95 0 0,-16 9 24 0 0,1 1 1 0 0,-67 44-1 0 0,103-61-65 0 0,-1 0 1 0 0,1 0 0 0 0,0 0 0 0 0,-1 0-1 0 0,1 0 1 0 0,0 1 0 0 0,0-1 0 0 0,0 0-1 0 0,0 1 1 0 0,0-1 0 0 0,0 1 0 0 0,0-1 0 0 0,0 1-1 0 0,-1 2 1 0 0,4 1-119 0 0,6-5 30 0 0,-2 0 44 0 0,26-1 32 0 0,-1-2 0 0 0,1-1 1 0 0,60-16-1 0 0,93-41 156 0 0,-104 33-130 0 0,124-43 73 0 0,-203 70-141 0 0,-4 1-24 0 0,-10 4 100 0 0,-1 1 1 0 0,1 0-1 0 0,0 0 0 0 0,0 2 1 0 0,0-1-1 0 0,-11 9 0 0 0,-4 2-10 0 0,6-5 22 0 0,12-8-25 0 0,0 1 0 0 0,1 0 0 0 0,0 0 1 0 0,0 1-1 0 0,1 0 0 0 0,-9 8 1 0 0,16-14-8 0 0,-5 10-16 0 0,5-10 10 0 0,0 0-1 0 0,0 1 0 0 0,1-1 0 0 0,-1 1 0 0 0,0-1 0 0 0,0 0 0 0 0,1 1 0 0 0,-1-1 0 0 0,0 0 0 0 0,1 1 0 0 0,-1-1 0 0 0,1 0 0 0 0,-1 0 0 0 0,0 0 0 0 0,1 1 0 0 0,-1-1 0 0 0,1 0 0 0 0,-1 0 0 0 0,1 0 0 0 0,-1 0 0 0 0,1 0 0 0 0,-1 1 0 0 0,0-1 0 0 0,1 0 0 0 0,-1 0 0 0 0,1 0 0 0 0,-1 0 0 0 0,1-1 0 0 0,-1 1 0 0 0,1 0 0 0 0,-1 0 0 0 0,1 0 0 0 0,39-2-3 0 0,0-1 0 0 0,-1-2 0 0 0,58-15-1 0 0,119-44 176 0 0,-163 46-169 0 0,-31 12 13 0 0,61-23 25 0 0,-75 24-15 0 0,-7 5-70 0 0,-3 0-53 0 0,-50 29 227 0 0,-84 60-1 0 0,133-87-123 0 0,1-1-2 0 0,0 0 1 0 0,0 1-1 0 0,0-1 1 0 0,0 1-1 0 0,0 0 1 0 0,0 0-1 0 0,0 0 0 0 0,1 0 1 0 0,-1 0-1 0 0,1 0 1 0 0,-1 0-1 0 0,1 0 1 0 0,0 1-1 0 0,-2 3 0 0 0,9-4-191 0 0,22-4 188 0 0,1 0 0 0 0,-2-2 1 0 0,35-8-1 0 0,87-30 141 0 0,-50 13-183 0 0,-96 28-115 0 0,-13 11-224 0 0,1-3 398 0 0,1 0-1 0 0,-1-1 1 0 0,0 0 0 0 0,-14 7 0 0 0,-13 9 95 0 0,30-16-94 0 0,7-4-118 0 0,14 0-63 0 0,-12-2 181 0 0,20-2 11 0 0,1-1 0 0 0,-1-1 0 0 0,0-1 0 0 0,0-1 0 0 0,25-10 0 0 0,-12 5-8 0 0,39-8 0 0 0,-73 19-103 0 0,-5 2-165 0 0,-12 8 272 0 0,-1-1 1 0 0,-20 10-1 0 0,18-10 29 0 0,-32 20 1 0 0,40-15 17 0 0</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783"/>
    </inkml:context>
    <inkml:brush xml:id="br0">
      <inkml:brushProperty name="width" value="0.05" units="cm"/>
      <inkml:brushProperty name="height" value="0.05" units="cm"/>
      <inkml:brushProperty name="color" value="#E71224"/>
    </inkml:brush>
  </inkml:definitions>
  <inkml:trace contextRef="#ctx0" brushRef="#br0">0 13 9252 0 0,'0'0'3476'0'0,"13"0"-2926"0"0,159 1 1652 0 0,231-2-981 0 0,-399 1-1543 0 0,22-2 166 0 0,-25 2-175 0 0,0 0 0 0 0,-1 0 0 0 0,1 0 1 0 0,0-1-1 0 0,0 1 0 0 0,0 0 0 0 0,0 0 0 0 0,0-1 1 0 0,0 1-1 0 0,0-1 0 0 0,0 1 0 0 0,-1-1 1 0 0,1 1-1 0 0,0-1 0 0 0,0 1 0 0 0,-1-1 0 0 0,1 0 1 0 0,0 1-1 0 0,-1-1 0 0 0,2-1 0 0 0</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6.291"/>
    </inkml:context>
    <inkml:brush xml:id="br0">
      <inkml:brushProperty name="width" value="0.05" units="cm"/>
      <inkml:brushProperty name="height" value="0.05" units="cm"/>
      <inkml:brushProperty name="color" value="#E71224"/>
    </inkml:brush>
  </inkml:definitions>
  <inkml:trace contextRef="#ctx0" brushRef="#br0">39 65 2801 0 0,'0'0'6761'0'0,"7"4"-6206"0"0,3-2-313 0 0,0 1-1 0 0,0-1 1 0 0,0-1 0 0 0,0 0 0 0 0,0 0 0 0 0,1-1 0 0 0,11-1 0 0 0,0 1 146 0 0,-20 0-361 0 0,0 0 0 0 0,0 0 0 0 0,1 0 0 0 0,-1 0 0 0 0,0 0 0 0 0,0-1 0 0 0,1 1 0 0 0,-1-1 0 0 0,0 0 0 0 0,0 1 0 0 0,0-1 0 0 0,0 0 0 0 0,0 0 0 0 0,0 0 0 0 0,0 0 0 0 0,0-1 0 0 0,0 1 0 0 0,-1 0 0 0 0,1-1 0 0 0,0 0 0 0 0,-1 1 0 0 0,1-1 0 0 0,-1 0 0 0 0,0 0 0 0 0,1 1 0 0 0,-1-1 0 0 0,0 0 0 0 0,0 0 0 0 0,0 0 0 0 0,-1-1 0 0 0,1 1 0 0 0,0 0 0 0 0,-1 0 0 0 0,1 0-1 0 0,-1-5 1 0 0,0 6-16 0 0,0 1-1 0 0,0-1 0 0 0,0 0 0 0 0,0 0 0 0 0,0 0 0 0 0,0 0 0 0 0,0 0 0 0 0,0 1 0 0 0,0-1 0 0 0,-1 0 0 0 0,1 0 0 0 0,0 0 0 0 0,-1 0 0 0 0,1 1 1 0 0,0-1-1 0 0,-1 0 0 0 0,1 1 0 0 0,-1-1 0 0 0,1 0 0 0 0,-2-1 0 0 0,-17-3-72 0 0,17 5 62 0 0,-18-3-92 0 0,0 2 1 0 0,-40 1-1 0 0,57 1 104 0 0,-1-1 1 0 0,1 1-1 0 0,0 0 0 0 0,0 0 1 0 0,0 0-1 0 0,0 1 0 0 0,0-1 1 0 0,0 1-1 0 0,0 0 0 0 0,0-1 1 0 0,1 1-1 0 0,-1 1 0 0 0,0-1 1 0 0,-2 4-1 0 0,-1 0 12 0 0,0 1 0 0 0,1 0-1 0 0,0 0 1 0 0,-5 9 0 0 0,8-10-6 0 0,0 1-1 0 0,0-1 0 0 0,0 1 1 0 0,1-1-1 0 0,0 1 0 0 0,0-1 1 0 0,0 1-1 0 0,1 0 1 0 0,0 0-1 0 0,1 7 0 0 0,0 7 16 0 0,-1-20-34 0 0,0 1-1 0 0,1-1 1 0 0,-1 0-1 0 0,1 0 0 0 0,-1 1 1 0 0,1-1-1 0 0,0 0 1 0 0,-1 0-1 0 0,1 0 0 0 0,0 0 1 0 0,0 0-1 0 0,0 0 1 0 0,0 0-1 0 0,0 0 0 0 0,0 0 1 0 0,0 0-1 0 0,0 0 1 0 0,0-1-1 0 0,0 1 0 0 0,1 0 1 0 0,-1-1-1 0 0,0 1 1 0 0,0-1-1 0 0,1 1 1 0 0,1-1-1 0 0,37 9 11 0 0,-10-5-647 0 0,1-2-1 0 0,59-3 1 0 0,-73-3-1499 0 0,0-6-1174 0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9.759"/>
    </inkml:context>
    <inkml:brush xml:id="br0">
      <inkml:brushProperty name="width" value="0.05" units="cm"/>
      <inkml:brushProperty name="height" value="0.05" units="cm"/>
      <inkml:brushProperty name="color" value="#E71224"/>
    </inkml:brush>
  </inkml:definitions>
  <inkml:trace contextRef="#ctx0" brushRef="#br0">141 22 3185 0 0,'0'0'3917'0'0,"-1"-18"285"0"0,-8 16-4029 0 0,1 2 1 0 0,0-1-1 0 0,-1 1 0 0 0,-12 1 1 0 0,-4 0 130 0 0,23-1-277 0 0,0 1-1 0 0,-1-1 1 0 0,1 0 0 0 0,0 0-1 0 0,0 1 1 0 0,-1 0 0 0 0,1-1 0 0 0,0 1-1 0 0,0 0 1 0 0,0 0 0 0 0,0 0-1 0 0,0 0 1 0 0,0 0 0 0 0,0 1-1 0 0,0-1 1 0 0,0 1 0 0 0,1-1-1 0 0,-1 1 1 0 0,0 0 0 0 0,1-1-1 0 0,-1 1 1 0 0,1 0 0 0 0,0 0 0 0 0,0 0-1 0 0,0 0 1 0 0,0 0 0 0 0,-1 4-1 0 0,0 0 16 0 0,0 0 1 0 0,1 0-1 0 0,0 0 0 0 0,0 0 0 0 0,0 0 0 0 0,1 0 0 0 0,0 0 0 0 0,0 0 0 0 0,2 9 1 0 0,-2-14-35 0 0,1 1 0 0 0,0-1 0 0 0,-1 1 0 0 0,1-1 1 0 0,0 1-1 0 0,0-1 0 0 0,0 0 0 0 0,0 1 0 0 0,0-1 1 0 0,0 0-1 0 0,1 0 0 0 0,-1 0 0 0 0,0 0 0 0 0,0 0 1 0 0,1 0-1 0 0,-1 0 0 0 0,3 1 0 0 0,32 13 188 0 0,-26-11-145 0 0,50 18 320 0 0,-59-22-366 0 0,-1 0-1 0 0,0 0 1 0 0,0 0-1 0 0,1 0 1 0 0,-1 1-1 0 0,0-1 1 0 0,1 0 0 0 0,-1 0-1 0 0,0 0 1 0 0,0 0-1 0 0,1 1 1 0 0,-1-1-1 0 0,0 0 1 0 0,0 0-1 0 0,1 1 1 0 0,-1-1-1 0 0,0 0 1 0 0,0 0-1 0 0,0 1 1 0 0,1-1-1 0 0,-1 0 1 0 0,0 0-1 0 0,0 1 1 0 0,0-1 0 0 0,0 0-1 0 0,0 1 1 0 0,0-1-1 0 0,0 0 1 0 0,0 1-1 0 0,0-1 1 0 0,0 0-1 0 0,0 1 1 0 0,0-1-1 0 0,0 0 1 0 0,0 1-1 0 0,0-1 1 0 0,0 0-1 0 0,0 1 1 0 0,0-1-1 0 0,0 0 1 0 0,0 0 0 0 0,0 1-1 0 0,-1-1 1 0 0,1 0-1 0 0,0 1 1 0 0,0-1-1 0 0,0 0 1 0 0,-1 0-1 0 0,1 1 1 0 0,0-1-1 0 0,-14 11 192 0 0,-20 5-92 0 0,-10 3-1044 0 0,14-9-5758 0 0,20-7-604 0 0</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0.827"/>
    </inkml:context>
    <inkml:brush xml:id="br0">
      <inkml:brushProperty name="width" value="0.05" units="cm"/>
      <inkml:brushProperty name="height" value="0.05" units="cm"/>
      <inkml:brushProperty name="color" value="#E71224"/>
    </inkml:brush>
  </inkml:definitions>
  <inkml:trace contextRef="#ctx0" brushRef="#br0">1 0 2753 0 0,'0'0'7961'0'0,"0"6"-7723"0"0,2 23 418 0 0,1 0 0 0 0,12 47 0 0 0,-7-38 57 0 0,4 41-1 0 0,-9-1-251 0 0,-2-45-235 0 0,1 0 0 0 0,9 49 0 0 0,-11-80-225 0 0,1 2 6 0 0,0 1 0 0 0,0-1 0 0 0,0 0 0 0 0,1 0 0 0 0,-1 0 0 0 0,1 0 0 0 0,0 0 0 0 0,3 5 0 0 0,-4-9-408 0 0,-1 1-1 0 0,1 0 0 0 0,-1 0 0 0 0,1-1 1 0 0,-1 1-1 0 0,0 0 0 0 0,1 0 0 0 0,-1-1 0 0 0,0 1 1 0 0,0 0-1 0 0,0 0 0 0 0,0 0 0 0 0,0-1 0 0 0,1 1 1 0 0,-1 0-1 0 0,-1 1 0 0 0,1-1-371 0 0,0-5-3138 0 0</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1.391"/>
    </inkml:context>
    <inkml:brush xml:id="br0">
      <inkml:brushProperty name="width" value="0.05" units="cm"/>
      <inkml:brushProperty name="height" value="0.05" units="cm"/>
      <inkml:brushProperty name="color" value="#E71224"/>
    </inkml:brush>
  </inkml:definitions>
  <inkml:trace contextRef="#ctx0" brushRef="#br0">0 61 5907 0 0,'0'0'5637'0'0,"1"-3"-4717"0"0,1 0-803 0 0,0-1-1 0 0,0 1 0 0 0,0 0 1 0 0,0 0-1 0 0,0 1 1 0 0,1-1-1 0 0,-1 0 0 0 0,1 1 1 0 0,-1-1-1 0 0,1 1 0 0 0,0 0 1 0 0,0 0-1 0 0,0 0 1 0 0,1 0-1 0 0,-1 1 0 0 0,6-3 1 0 0,-1 1 107 0 0,0 1 0 0 0,1-1 0 0 0,-1 1 1 0 0,1 1-1 0 0,-1 0 0 0 0,14-1 1 0 0,-17 2-221 0 0,1 1 0 0 0,0-1 0 0 0,-1 1 0 0 0,1 0 0 0 0,-1 0 0 0 0,1 0 0 0 0,-1 1 0 0 0,0 0 0 0 0,9 4 0 0 0,-11-5 1 0 0,0 1-1 0 0,-1 0 1 0 0,1 0-1 0 0,0 0 1 0 0,-1 1-1 0 0,0-1 1 0 0,1 0-1 0 0,-1 1 0 0 0,0-1 1 0 0,-1 1-1 0 0,1 0 1 0 0,0 0-1 0 0,-1 0 1 0 0,1 0-1 0 0,-1 0 1 0 0,0 0-1 0 0,0 0 1 0 0,1 4-1 0 0,-1 0-84 0 0,1 0 0 0 0,-1 1 0 0 0,-1-1-1 0 0,1 1 1 0 0,-1 0 0 0 0,0-1 0 0 0,-1 1 0 0 0,0-1-1 0 0,0 0 1 0 0,-1 1 0 0 0,0-1 0 0 0,0 0 0 0 0,-1 0 0 0 0,1 0-1 0 0,-1 0 1 0 0,-1 0 0 0 0,0 0 0 0 0,-5 6 0 0 0,-10 12-3279 0 0,-4 2-1814 0 0</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6.639"/>
    </inkml:context>
    <inkml:brush xml:id="br0">
      <inkml:brushProperty name="width" value="0.05" units="cm"/>
      <inkml:brushProperty name="height" value="0.05" units="cm"/>
      <inkml:brushProperty name="ignorePressure" value="1"/>
    </inkml:brush>
  </inkml:definitions>
  <inkml:trace contextRef="#ctx0" brushRef="#br0">1 487,'13'-1,"0"-1,0 0,0 0,-1-1,1-1,0 0,17-9,-20 9,54-23,203-77,-156 54,-33 12,-63 31,-1-1,0-1,0 0,14-14,25-16,-43 31,0 0,0-2,-1 1,0-1,0 0,10-19,-18 28,0 0,0-1,0 1,0 0,0-1,-1 1,1-1,-1 1,1-1,-1 1,1-1,-1 1,0-1,0 1,0-1,0 1,0-1,0 0,0 1,0-1,-1 1,1-1,-1 1,1-1,-1 1,0-2,0 2,-1-1,1 1,0 0,0 0,-1 0,1 1,-1-1,1 0,-1 0,0 1,1-1,-1 1,1-1,-1 1,0 0,1 0,-1-1,0 1,0 1,1-1,-1 0,0 0,-2 1,-8 2,1 1,-15 6,3-1,-31 16,41-18,-1 0,-24 8,-10 2,34-10,-1-2,-16 4,11-4,0 1,1 0,-30 15,37-16,0 0,-1-1,-13 2,14-4,1 1,0 0,0 1,-13 7,12-6,-1 1,-21 5,26-9</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46.151"/>
    </inkml:context>
    <inkml:brush xml:id="br0">
      <inkml:brushProperty name="width" value="0.35" units="cm"/>
      <inkml:brushProperty name="height" value="0.35" units="cm"/>
    </inkml:brush>
  </inkml:definitions>
  <inkml:trace contextRef="#ctx0" brushRef="#br0">1015 385 11301 0 0,'0'0'838'0'0,"-31"15"-417"0"0,-95 47-226 0 0,125-62-193 0 0,-38 21 63 0 0,29-12 263 0 0,8-4 16 0 0,5-8-560 0 0,9-10 321 0 0,20-16-1 0 0,-23 22-24 0 0,0 0 0 0 0,-1-1 0 0 0,0 0 0 0 0,-1 0 0 0 0,1-1 0 0 0,-2 0 0 0 0,1 0 0 0 0,7-15 0 0 0,-14 24-71 0 0,1 0 1 0 0,-1 0 0 0 0,0-1-1 0 0,0 1 1 0 0,0 0 0 0 0,0 0-1 0 0,0-1 1 0 0,0 1 0 0 0,1 0 0 0 0,-1 0-1 0 0,0-1 1 0 0,0 1 0 0 0,0 0-1 0 0,0 0 1 0 0,0-1 0 0 0,0 1 0 0 0,0 0-1 0 0,0 0 1 0 0,0-1 0 0 0,0 1-1 0 0,0 0 1 0 0,0 0 0 0 0,0-1 0 0 0,-1 1-1 0 0,1 0 1 0 0,0 0 0 0 0,0-1-1 0 0,0 1 1 0 0,0 0 0 0 0,0 0-1 0 0,-1-1 1 0 0,-12 0 382 0 0,10 1-345 0 0,-13 1-18 0 0,0 0 0 0 0,0 1 1 0 0,0 1-1 0 0,-16 5 0 0 0,-67 25 14 0 0,63-21-10 0 0,-293 109 95 0 0,48-17 45 0 0,210-77-18 0 0,140-69-553 0 0,-20 14 490 0 0,0-3 0 0 0,-2-1 0 0 0,54-50 0 0 0,-99 81-82 0 0,0 0 0 0 0,0-1 0 0 0,-1 0 0 0 0,1 1 0 0 0,0-1-1 0 0,-1 0 1 0 0,0 1 0 0 0,1-1 0 0 0,-1 0 0 0 0,0 0 0 0 0,0 0-1 0 0,0 0 1 0 0,0-1 0 0 0,0 1 0 0 0,-1 0 0 0 0,1 0-1 0 0,-1 0 1 0 0,1-1 0 0 0,-1 1 0 0 0,0 0 0 0 0,0-4 0 0 0,0 6-8 0 0,0 0 1 0 0,0-1 0 0 0,0 1-1 0 0,0 0 1 0 0,0 0 0 0 0,0 0 0 0 0,0 0-1 0 0,0-1 1 0 0,0 1 0 0 0,-1 0 0 0 0,1 0-1 0 0,0 0 1 0 0,0 0 0 0 0,0 0-1 0 0,0 0 1 0 0,0-1 0 0 0,0 1 0 0 0,0 0-1 0 0,0 0 1 0 0,-1 0 0 0 0,1 0 0 0 0,0 0-1 0 0,0 0 1 0 0,0 0 0 0 0,0 0-1 0 0,0 0 1 0 0,-1 0 0 0 0,1 0 0 0 0,0 0-1 0 0,0-1 1 0 0,0 1 0 0 0,0 0-1 0 0,0 0 1 0 0,-1 0 0 0 0,1 0 0 0 0,0 0-1 0 0,0 0 1 0 0,0 1 0 0 0,0-1 0 0 0,-1 0-1 0 0,1 0 1 0 0,0 0 0 0 0,0 0-1 0 0,0 0 1 0 0,0 0 0 0 0,-1 0 0 0 0,-20 0 39 0 0,-1 0 1 0 0,1 2 0 0 0,-1 1 0 0 0,-37 9 0 0 0,-85 35 132 0 0,142-46-180 0 0,1-1 0 0 0,0 0-1 0 0,0 0 0 0 0,-1 0 1 0 0,1 1-1 0 0,0-1 0 0 0,0 1 0 0 0,0-1 1 0 0,0 0-1 0 0,0 1 0 0 0,0 0 1 0 0,1-1-1 0 0,-1 1 0 0 0,0 0 0 0 0,0-1 1 0 0,0 1-1 0 0,0 0 0 0 0,1 0 1 0 0,-1 0-1 0 0,0 0 0 0 0,1 0 1 0 0,-1-1-1 0 0,0 3 0 0 0,11-3-479 0 0,33 1 497 0 0,0-3 0 0 0,70-11 1 0 0,-106 11-6 0 0,13-2 3 0 0,1 0 0 0 0,32-1 0 0 0,-52 11-229 0 0,-1-3 220 0 0,0 1 0 0 0,-1-1 0 0 0,1 1 0 0 0,-1-1 0 0 0,0 0 0 0 0,0 1 0 0 0,0-1 0 0 0,0 0 0 0 0,-1 0 0 0 0,1 0 0 0 0,-1 0 0 0 0,0 0 0 0 0,-3 3 0 0 0,-3 4 63 0 0,0-1 1 0 0,-15 12-1 0 0,17-16-39 0 0,0 1 0 0 0,-1 0 0 0 0,2 0 0 0 0,-1 0-1 0 0,1 1 1 0 0,0-1 0 0 0,-5 10 0 0 0,10-16-28 0 0,0 0 0 0 0,0 0 0 0 0,0 0 0 0 0,-1 1 0 0 0,1-1 0 0 0,0 0-1 0 0,0 0 1 0 0,0 0 0 0 0,0 0 0 0 0,0 1 0 0 0,0-1 0 0 0,0 0 0 0 0,0 0 0 0 0,0 0 0 0 0,0 1 0 0 0,0-1 0 0 0,0 0 0 0 0,0 0 0 0 0,0 0-1 0 0,0 1 1 0 0,0-1 0 0 0,0 0 0 0 0,0 0 0 0 0,0 0 0 0 0,0 1 0 0 0,0-1 0 0 0,0 0 0 0 0,0 0 0 0 0,0 0 0 0 0,0 0 0 0 0,0 1 0 0 0,0-1 0 0 0,1 0-1 0 0,-1 0 1 0 0,0 0 0 0 0,0 0 0 0 0,0 1 0 0 0,12 0-201 0 0,-9-1 197 0 0,16-1-25 0 0,1-1 0 0 0,-2-1 0 0 0,1 0 0 0 0,22-8 0 0 0,81-30 234 0 0,-85 27-164 0 0,134-50 180 0 0,104-35-95 0 0,-272 98-203 0 0,-4 3 64 0 0,1-1-1 0 0,-1 0 1 0 0,0 1 0 0 0,1-1-1 0 0,-1 0 1 0 0,0 1-1 0 0,0-1 1 0 0,0 0-1 0 0,0 0 1 0 0,0 0 0 0 0,0 0-1 0 0,0 0 1 0 0,0 0-1 0 0,-2 1 1 0 0,2-1 9 0 0,-27 20 79 0 0,-1-2 0 0 0,-36 19 0 0 0,20-12-67 0 0,-123 67 137 0 0,56-32-12 0 0,108-59-126 0 0,-1 1 0 0 0,1-1 0 0 0,0 1 0 0 0,-1 0 0 0 0,1 0 0 0 0,1 1-1 0 0,-1-1 1 0 0,-6 8 0 0 0,9-8-74 0 0,6-3-68 0 0,12 0 31 0 0,-1 0 0 0 0,0-2 0 0 0,1 0 0 0 0,30-8 0 0 0,71-28 384 0 0,-67 20-278 0 0,422-171 343 0 0,-449 178-334 0 0,-50 24 109 0 0,-406 195 406 0 0,171-85-443 0 0,244-115-64 0 0,6-3-8 0 0,-1 1-1 0 0,1-1 1 0 0,0 2-1 0 0,1 0 1 0 0,-15 12-1 0 0,20-12-55 0 0,7-3-75 0 0,19-2-214 0 0,-18-2 307 0 0,34-2-4 0 0,0-1 0 0 0,0-2 1 0 0,42-12-1 0 0,117-38 231 0 0,-179 50-185 0 0,499-174 214 0 0,-178 57-137 0 0,-333 121-113 0 0,-10 3 21 0 0,-411 197 537 0 0,372-177-526 0 0,16-8 5 0 0,1 0 1 0 0,-48 35-1 0 0,60-34-37 0 0,15-14 21 0 0,0-1 1 0 0,0 0-1 0 0,-1 0 1 0 0,1 0-1 0 0,0 0 0 0 0,0 0 1 0 0,0 0-1 0 0,0 0 1 0 0,0 1-1 0 0,0-1 1 0 0,0 0-1 0 0,0 0 0 0 0,0 0 1 0 0,0 0-1 0 0,0 1 1 0 0,-1-1-1 0 0,1 0 0 0 0,0 0 1 0 0,0 0-1 0 0,0 0 1 0 0,0 0-1 0 0,0 1 0 0 0,0-1 1 0 0,0 0-1 0 0,0 0 1 0 0,1 0-1 0 0,-1 0 1 0 0,0 1-1 0 0,0-1 0 0 0,0 0 1 0 0,0 0-1 0 0,0 0 1 0 0,0 0-1 0 0,0 0 0 0 0,0 1 1 0 0,0-1-1 0 0,0 0 1 0 0,0 0-1 0 0,1 0 1 0 0,-1 0-1 0 0,0 0 0 0 0,0 0 1 0 0,0 0-1 0 0,0 1 1 0 0,0-1-1 0 0,0 0 0 0 0,1 0 1 0 0,-1 0-1 0 0,0 0 1 0 0,0 0-1 0 0,0 0 1 0 0,0 0-1 0 0,1 0 0 0 0,-1 0 1 0 0,0 0-1 0 0,0 0 1 0 0,0 0-1 0 0,0 0 0 0 0,0 0 1 0 0,1 0-1 0 0,-1 0 1 0 0,0 0-1 0 0,0 0 1 0 0,12 1-66 0 0,0-1 0 0 0,0 0 1 0 0,0-1-1 0 0,0 0 0 0 0,0-1 1 0 0,20-5-1 0 0,-22 5 53 0 0,338-105 217 0 0,-309 93-198 0 0,949-336 265 0 0,-958 338-273 0 0,-28 11-20 0 0,-7 3-2 0 0,-48 15 46 0 0,-787 314 161 0 0,811-319-188 0 0,-8 3 6 0 0,-62 35 1 0 0,75-31 0 0 0,23-15-59 0 0,11-3-69 0 0,17-2 6 0 0,0 0 1 0 0,-1-2-1 0 0,28-6 0 0 0,87-26 198 0 0,-75 18-30 0 0,646-202 242 0 0,-280 51-275 0 0,-464 177 38 0 0,-174 78 309 0 0,33-19-315 0 0,-44 19-13 0 0,-313 120-74 0 0,-246 101-52 0 0,720-286 113 0 0,15-5 39 0 0,-56 30 1 0 0,93-45-57 0 0,5-1-16 0 0,21-5-86 0 0,101-27-303 0 0,79-30 390 0 0,61-18 117 0 0,1262-403 144 0 0,-1296 398-296 0 0,-48 11 54 0 0,-138 56 1 0 0,8-3 20 0 0,70-39 0 0 0,-115 56-16 0 0,0-1-1 0 0,0 0 1 0 0,10-9 0 0 0,-13 7 36 0 0,-12 4 60 0 0,-19 2-6 0 0,0 2-1 0 0,0 1 0 0 0,0 1 1 0 0,-49 14-1 0 0,-431 144 45 0 0,432-135-117 0 0,-707 269 119 0 0,693-254-144 0 0,87-41-15 0 0,-23 17 32 0 0,26-18-21 0 0,0 0-1 0 0,0 0 1 0 0,0 0-1 0 0,-1 1 0 0 0,1-1 1 0 0,0 0-1 0 0,0 0 0 0 0,0 0 1 0 0,0 0-1 0 0,0 1 1 0 0,0-1-1 0 0,-1 0 0 0 0,1 0 1 0 0,0 0-1 0 0,0 0 1 0 0,0 1-1 0 0,0-1 0 0 0,0 0 1 0 0,0 0-1 0 0,0 0 0 0 0,0 1 1 0 0,0-1-1 0 0,0 0 1 0 0,0 0-1 0 0,0 0 0 0 0,0 1 1 0 0,0-1-1 0 0,0 0 1 0 0,0 0-1 0 0,0 0 0 0 0,0 1 1 0 0,0-1-1 0 0,1 0 1 0 0,-1 0-1 0 0,0 0 0 0 0,0 1 1 0 0,0-1-1 0 0,0 0 0 0 0,0 0 1 0 0,1 0-1 0 0,0 1-20 0 0,0 0 0 0 0,1-1 0 0 0,-1 0 0 0 0,1 1-1 0 0,-1-1 1 0 0,0 0 0 0 0,1 1 0 0 0,-1-1 0 0 0,1 0-1 0 0,2 0 1 0 0,26 0-142 0 0,39-6 0 0 0,83-24 217 0 0,806-238 302 0 0,-16-55-339 0 0,-917 314-14 0 0,302-120 108 0 0,-356 137 424 0 0,-6 0-286 0 0,-343 126-33 0 0,277-96-201 0 0,-1027 428 189 0 0,1002-404-125 0 0,112-54-77 0 0,0 0 0 0 0,0 0 1 0 0,-13 12-1 0 0,26-19-4 0 0,0-1 0 0 0,1 1-1 0 0,-1-1 1 0 0,0 1 0 0 0,0 0 0 0 0,0-1-1 0 0,1 1 1 0 0,-1 0 0 0 0,0-1 0 0 0,1 1 0 0 0,-1 0-1 0 0,1 0 1 0 0,-1 0 0 0 0,1 0 0 0 0,-1 0 0 0 0,1 0-1 0 0,0 0 1 0 0,-1 0 0 0 0,1 0 0 0 0,0 0 0 0 0,0 0-1 0 0,-1 0 1 0 0,1 0 0 0 0,0 1 0 0 0,2-1-19 0 0,0 0 0 0 0,0 0 0 0 0,0 0 0 0 0,-1-1 1 0 0,1 1-1 0 0,0 0 0 0 0,0-1 0 0 0,0 1 0 0 0,0-1 1 0 0,0 0-1 0 0,0 0 0 0 0,0 0 0 0 0,0 0 0 0 0,0 0 1 0 0,0 0-1 0 0,3-1 0 0 0,108-8-189 0 0,55-26 211 0 0,515-142 7 0 0,-5-19-11 0 0,-668 193 6 0 0,214-68 52 0 0,-176 52-30 0 0,-40 14-10 0 0,-8 2-2 0 0,-21 7 31 0 0,-253 74 140 0 0,-11 20-211 0 0,189-65 36 0 0,-65 22 40 0 0,-160 58 9 0 0,15 11 68 0 0,290-117-108 0 0,0 1 1 0 0,-20 14 0 0 0,27-12-33 0 0,9-10 11 0 0,0 0 1 0 0,0 1 0 0 0,0-1 0 0 0,1 0 0 0 0,-1 0 0 0 0,0 1-1 0 0,0-1 1 0 0,0 0 0 0 0,0 0 0 0 0,0 0 0 0 0,0 1 0 0 0,0-1 0 0 0,1 0-1 0 0,-1 0 1 0 0,0 0 0 0 0,0 1 0 0 0,0-1 0 0 0,1 0 0 0 0,-1 0-1 0 0,0 0 1 0 0,0 0 0 0 0,0 0 0 0 0,1 1 0 0 0,-1-1 0 0 0,0 0-1 0 0,0 0 1 0 0,1 0 0 0 0,-1 0 0 0 0,0 0 0 0 0,0 0 0 0 0,1 0 0 0 0,-1 0-1 0 0,0 0 1 0 0,9 1-84 0 0,-1-1 0 0 0,1 0 0 0 0,-1 0 0 0 0,16-3 0 0 0,112-18 61 0 0,435-108 169 0 0,0-26-148 0 0,-36-13 112 0 0,-496 152-86 0 0,-35 13 51 0 0,-7 1-5 0 0,-18 4 141 0 0,-81 21 56 0 0,-108 40 0 0 0,116-34-239 0 0,-666 227 44 0 0,740-248-46 0 0,-37 19-1 0 0,57-27-23 0 0,-1 1 0 0 0,0-1 0 0 0,1 0 0 0 0,-1 1-1 0 0,1-1 1 0 0,-1 0 0 0 0,0 1 0 0 0,1-1 0 0 0,-1 1-1 0 0,1-1 1 0 0,-1 1 0 0 0,1 0 0 0 0,0-1 0 0 0,-1 1-1 0 0,1-1 1 0 0,0 1 0 0 0,-1 1 0 0 0,1-2-3 0 0,0 0 0 0 0,1 1 0 0 0,-1-1 0 0 0,0 0 0 0 0,1 1 0 0 0,-1-1 0 0 0,0 0-1 0 0,1 1 1 0 0,-1-1 0 0 0,1 0 0 0 0,-1 0 0 0 0,0 1 0 0 0,1-1 0 0 0,-1 0 0 0 0,1 0 0 0 0,-1 0 0 0 0,1 0 0 0 0,-1 1 0 0 0,1-1 0 0 0,-1 0 0 0 0,0 0 0 0 0,1 0 0 0 0,-1 0 0 0 0,2 0 0 0 0,14 1-89 0 0,1-1 1 0 0,0-1 0 0 0,19-2 0 0 0,135-25 66 0 0,505-118 139 0 0,-1-20-35 0 0,-648 159-75 0 0,21-5 7 0 0,128-36 66 0 0,-174 47-68 0 0,-11 1 16 0 0,-19 1 21 0 0,1 1-1 0 0,-40 9 1 0 0,-60 20-6 0 0,55-13-44 0 0,-339 92 8 0 0,344-87 18 0 0,66-23-19 0 0,-17 10-25 0 0,23-8-78 0 0,14-1-60 0 0,99-8 189 0 0,136-26 1 0 0,-153 18 10 0 0,-24 3 0 0 0,-24 4-12 0 0,94-5 1 0 0,-145 14-97 0 0,-7 2 67 0 0,1-2-2 0 0,-115 46 143 0 0,-122 52-16 0 0,164-64-114 0 0,-78 50 0 0 0,144-79-16 0 0,0 1 9 0 0,0 0 0 0 0,-19 16 0 0 0,28-21-8 0 0,-1 0 1 0 0,1 1-1 0 0,0-1 1 0 0,0 1 0 0 0,0 0-1 0 0,0 0 1 0 0,0 0-1 0 0,0 0 1 0 0,1 0-1 0 0,0 0 1 0 0,-1 0 0 0 0,1 0-1 0 0,0 1 1 0 0,1-1-1 0 0,-2 6 1 0 0,2-8-19 0 0,0 0 1 0 0,0-1-1 0 0,0 1 0 0 0,0 0 1 0 0,0 0-1 0 0,0 0 0 0 0,0 0 1 0 0,0 0-1 0 0,1 0 0 0 0,-1-1 1 0 0,0 1-1 0 0,1 0 0 0 0,-1 0 1 0 0,0 0-1 0 0,1-1 0 0 0,-1 1 1 0 0,1 0-1 0 0,-1 0 0 0 0,1-1 1 0 0,-1 1-1 0 0,1 0 0 0 0,0-1 1 0 0,-1 1-1 0 0,1-1 0 0 0,0 1 1 0 0,0-1-1 0 0,-1 1 0 0 0,1-1 1 0 0,0 1-1 0 0,0-1 0 0 0,1 1 1 0 0,2 0-125 0 0,1 0 1 0 0,0 0 0 0 0,0-1 0 0 0,10 1 0 0 0,-5-1-121 0 0,24 1-1193 0 0,-1-1-1 0 0,1-2 1 0 0,62-11 0 0 0,26-23-6029 0 0,-122 36 7488 0 0</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51.562"/>
    </inkml:context>
    <inkml:brush xml:id="br0">
      <inkml:brushProperty name="width" value="0.35" units="cm"/>
      <inkml:brushProperty name="height" value="0.35" units="cm"/>
    </inkml:brush>
  </inkml:definitions>
  <inkml:trace contextRef="#ctx0" brushRef="#br0">1559 769 7299 0 0,'0'0'2674'0'0,"28"-17"-1671"0"0,90-53-182 0 0,-31 19 986 0 0,-73 40-535 0 0,-22 13-1056 0 0,-226 73 356 0 0,146-43-493 0 0,6-3-20 0 0,-213 67 218 0 0,295-95-273 0 0,0-1 0 0 0,0 0-1 0 0,0 0 1 0 0,-1 0-1 0 0,1 0 1 0 0,0 1 0 0 0,0-1-1 0 0,0 0 1 0 0,-1 0 0 0 0,1 0-1 0 0,0 0 1 0 0,0 0-1 0 0,-1 0 1 0 0,1 0 0 0 0,0 0-1 0 0,0 0 1 0 0,0 0 0 0 0,-1 0-1 0 0,1 0 1 0 0,0 0-1 0 0,0 0 1 0 0,-1 0 0 0 0,1 0-1 0 0,0 0 1 0 0,0 0 0 0 0,-1 0-1 0 0,1 0 1 0 0,0 0-1 0 0,0 0 1 0 0,0 0 0 0 0,-1 0-1 0 0,1-1 1 0 0,0 1 0 0 0,0 0-1 0 0,0 0 1 0 0,-1 0-1 0 0,1 0 1 0 0,0-1 0 0 0,7-7 15 0 0,21-12-17 0 0,109-65 201 0 0,125-85-294 0 0,-260 168 88 0 0,7-4-16 0 0,-1 0 1 0 0,0 0-1 0 0,0-1 1 0 0,9-10-1 0 0,-17 17 18 0 0,0 0 0 0 0,0 0 0 0 0,0 0 0 0 0,0-1 1 0 0,0 1-1 0 0,1 0 0 0 0,-1 0 0 0 0,0 0 0 0 0,0 0 0 0 0,0 0 0 0 0,0 0 0 0 0,0 0 0 0 0,0 0 0 0 0,0-1 1 0 0,0 1-1 0 0,0 0 0 0 0,1 0 0 0 0,-1 0 0 0 0,0 0 0 0 0,0 0 0 0 0,0-1 0 0 0,0 1 0 0 0,0 0 0 0 0,0 0 1 0 0,0 0-1 0 0,0 0 0 0 0,0 0 0 0 0,0-1 0 0 0,0 1 0 0 0,0 0 0 0 0,0 0 0 0 0,0 0 0 0 0,0 0 0 0 0,0 0 0 0 0,0-1 1 0 0,0 1-1 0 0,-1 0 0 0 0,1 0 0 0 0,0 0 0 0 0,0 0 0 0 0,0 0 0 0 0,0 0 0 0 0,0-1 0 0 0,0 1 0 0 0,0 0 1 0 0,0 0-1 0 0,0 0 0 0 0,-1 0 0 0 0,1 0 0 0 0,0 0 0 0 0,0 0 0 0 0,0 0 0 0 0,0 0 0 0 0,0 0 0 0 0,0 0 1 0 0,-1-1-1 0 0,1 1 0 0 0,0 0 0 0 0,0 0 0 0 0,0 0 0 0 0,0 0 0 0 0,0 0 0 0 0,-1 0 0 0 0,1 0 0 0 0,-30 2-247 0 0,-22 10 79 0 0,1 2 0 0 0,-76 32-1 0 0,79-28 161 0 0,-245 95 66 0 0,-86 32 601 0 0,407-160-542 0 0,-8 2-115 0 0,73-39 100 0 0,202-128-130 0 0,-290 177 20 0 0,13-10-41 0 0,18-17-1 0 0,-31 26 38 0 0,-1 0 1 0 0,-1 0-1 0 0,1-1 0 0 0,0 1 0 0 0,-1-1 1 0 0,0 1-1 0 0,0-1 0 0 0,-1 0 0 0 0,4-9 1 0 0,-5 13 10 0 0,-1 0 0 0 0,0 0 0 0 0,1 0 0 0 0,-1 1 0 0 0,0-1 0 0 0,0 0 0 0 0,0 0 0 0 0,0 0 0 0 0,0 0 0 0 0,0 0 0 0 0,0 1 0 0 0,0-1 0 0 0,0 0 0 0 0,0 0 0 0 0,0 0 0 0 0,-1 0 0 0 0,1 1 1 0 0,0-1-1 0 0,-1-1 0 0 0,0 1-7 0 0,0 0 1 0 0,0 1-1 0 0,0-1 0 0 0,0 0 1 0 0,0 1-1 0 0,0-1 1 0 0,0 0-1 0 0,0 1 1 0 0,0 0-1 0 0,-1-1 1 0 0,1 1-1 0 0,0 0 1 0 0,0-1-1 0 0,0 1 1 0 0,-1 0-1 0 0,-1 0 1 0 0,-28-2-71 0 0,1 2 0 0 0,-1 1 1 0 0,1 2-1 0 0,-1 1 0 0 0,1 1 1 0 0,-34 10-1 0 0,-177 68 177 0 0,214-73-99 0 0,-195 78 311 0 0,378-164-60 0 0,16-19-117 0 0,-146 80-132 0 0,145-90 65 0 0,-165 101-66 0 0,-4 2 3 0 0,1 1 1 0 0,-1-1-1 0 0,0 1 0 0 0,0-1 0 0 0,0 0 1 0 0,1 0-1 0 0,-2 0 0 0 0,1 0 0 0 0,0 0 1 0 0,0 0-1 0 0,-1 0 0 0 0,1-1 1 0 0,1-3-1 0 0,-3 6-2 0 0,0-1 0 0 0,0 1 0 0 0,0 0 1 0 0,0 0-1 0 0,1-1 0 0 0,-1 1 0 0 0,0 0 0 0 0,0 0 1 0 0,0 0-1 0 0,0-1 0 0 0,0 1 0 0 0,0 0 0 0 0,0 0 0 0 0,0-1 1 0 0,0 1-1 0 0,0 0 0 0 0,-1 0 0 0 0,1-1 0 0 0,0 1 1 0 0,0 0-1 0 0,0 0 0 0 0,0 0 0 0 0,0-1 0 0 0,0 1 1 0 0,0 0-1 0 0,0 0 0 0 0,-1 0 0 0 0,1-1 0 0 0,0 1 1 0 0,0 0-1 0 0,0 0 0 0 0,0 0 0 0 0,-1 0 0 0 0,1-1 1 0 0,0 1-1 0 0,0 0 0 0 0,-1 0 0 0 0,1 0 0 0 0,0 0 0 0 0,0 0 1 0 0,-1 0-1 0 0,-13-1-67 0 0,7 1 34 0 0,-18 1 0 0 0,-1 2 1 0 0,1 0-1 0 0,0 2 1 0 0,-25 7-1 0 0,-102 39-45 0 0,-270 137 272 0 0,364-155-134 0 0,55-32-208 0 0,13-2 112 0 0,-1 0-1 0 0,0-1 0 0 0,0 0 0 0 0,0 0 0 0 0,0-1 1 0 0,-1 0-1 0 0,1-1 0 0 0,10-6 0 0 0,-10 6 20 0 0,142-76 206 0 0,-123 62-153 0 0,-1 0 0 0 0,0-2 0 0 0,27-27 0 0 0,-43 34-31 0 0,-11 13-6 0 0,0-1 0 0 0,0 1 0 0 0,0 0 0 0 0,0 0 0 0 0,0 0 0 0 0,1-1 0 0 0,-1 1 1 0 0,0 0-1 0 0,0 0 0 0 0,0-1 0 0 0,0 1 0 0 0,0 0 0 0 0,0 0 0 0 0,0 0 0 0 0,0-1 0 0 0,0 1 1 0 0,0 0-1 0 0,0 0 0 0 0,0 0 0 0 0,0-1 0 0 0,0 1 0 0 0,0 0 0 0 0,-1 0 0 0 0,1-1 0 0 0,0 1 0 0 0,0 0 1 0 0,0 0-1 0 0,0 0 0 0 0,0-1 0 0 0,0 1 0 0 0,0 0 0 0 0,-1 0 0 0 0,1 0 0 0 0,0 0 0 0 0,0 0 1 0 0,0-1-1 0 0,0 1 0 0 0,-1 0 0 0 0,1 0 0 0 0,0 0 0 0 0,0 0 0 0 0,0 0 0 0 0,-1 0 0 0 0,1 0 0 0 0,0 0 1 0 0,0 0-1 0 0,-1 0 0 0 0,1-1 0 0 0,0 1 0 0 0,-4 0-12 0 0,1-1 1 0 0,-1 1-1 0 0,0 0 0 0 0,1 0 1 0 0,-1 0-1 0 0,0 1 1 0 0,1-1-1 0 0,-6 2 0 0 0,-36 12-56 0 0,-20 11 103 0 0,-73 39 0 0 0,-57 45 60 0 0,186-104-84 0 0,7-5-10 0 0,1 1 0 0 0,-1 0 1 0 0,1 0-1 0 0,-1 0 0 0 0,1 0 0 0 0,-1 0 1 0 0,1 0-1 0 0,-1 0 0 0 0,1 1 0 0 0,0-1 0 0 0,0 0 1 0 0,0 1-1 0 0,0-1 0 0 0,-2 3 0 0 0,7-3-161 0 0,13-2 149 0 0,0-2-1 0 0,0 0 1 0 0,0-1-1 0 0,0-1 1 0 0,-1 0-1 0 0,25-12 1 0 0,-22 10 19 0 0,553-254 318 0 0,-280 110-214 0 0,-217 108-136 0 0,-94 65-286 0 0,-138 95 411 0 0,90-71-66 0 0,45-30-23 0 0,-49 38 78 0 0,69-52-89 0 0,1-2-2 0 0,-1 1 0 0 0,1 0-1 0 0,0 0 1 0 0,-1 0 0 0 0,1 1 0 0 0,0-1 0 0 0,0 0 0 0 0,0 0-1 0 0,0 1 1 0 0,0-1 0 0 0,0 0 0 0 0,0 1 0 0 0,1-1-1 0 0,-1 1 1 0 0,0-1 0 0 0,1 1 0 0 0,-1-1 0 0 0,0 4-1 0 0,11-3-147 0 0,13-4 140 0 0,-1 0-1 0 0,0-1 1 0 0,0-2 0 0 0,42-13-1 0 0,95-42 117 0 0,-121 44-87 0 0,132-58 137 0 0,248-149 1 0 0,-406 216-143 0 0,-8 5-12 0 0,0 0 0 0 0,0-1 0 0 0,0 1 0 0 0,0-1 0 0 0,0 0 1 0 0,-1-1-1 0 0,7-5 0 0 0,-9 7-14 0 0,-5 3-37 0 0,-11 4-16 0 0,0 1 0 0 0,-26 15 0 0 0,10-4 85 0 0,-346 183 89 0 0,10 17-57 0 0,349-206-45 0 0,-31 22 19 0 0,45-29-25 0 0,-1 0-1 0 0,1 0 1 0 0,0 0 0 0 0,0 0-1 0 0,0 1 1 0 0,1-1 0 0 0,-4 8-1 0 0,6-12-3 0 0,1 1 0 0 0,0-1 0 0 0,-1 0 0 0 0,1 1-1 0 0,0-1 1 0 0,0 0 0 0 0,0 1 0 0 0,-1-1 0 0 0,1 1 0 0 0,0-1 0 0 0,0 0-1 0 0,0 1 1 0 0,0-1 0 0 0,0 1 0 0 0,0-1 0 0 0,0 1 0 0 0,0-1 0 0 0,0 0-1 0 0,0 1 1 0 0,0-1 0 0 0,0 1 0 0 0,0-1 0 0 0,0 0 0 0 0,0 1 0 0 0,0-1-1 0 0,0 1 1 0 0,0-1 0 0 0,0 0 0 0 0,1 1 0 0 0,-1-1 0 0 0,0 1 0 0 0,0-1-1 0 0,1 0 1 0 0,-1 1 0 0 0,0-1 0 0 0,0 0 0 0 0,1 1 0 0 0,-1-1 0 0 0,0 0-1 0 0,1 0 1 0 0,-1 1 0 0 0,1-1 0 0 0,-1 0 0 0 0,0 0 0 0 0,1 0 0 0 0,-1 0-1 0 0,1 1 1 0 0,-1-1 0 0 0,0 0 0 0 0,1 0 0 0 0,-1 0 0 0 0,1 0 0 0 0,-1 0-1 0 0,0 0 1 0 0,1 0 0 0 0,13 1-62 0 0,1 0 0 0 0,-1-1 0 0 0,16-1 0 0 0,37-6 86 0 0,90-19 1 0 0,70-29 114 0 0,-183 43-135 0 0,873-277 276 0 0,-902 284-310 0 0,-14 6-4 0 0,-3 0-7 0 0,-25 14-76 0 0,-334 166 255 0 0,-39 20 54 0 0,378-190-154 0 0,16-9-23 0 0,0 1-1 0 0,1 0 0 0 0,-1 0 0 0 0,1 0 0 0 0,0 0 0 0 0,0 1 1 0 0,0 0-1 0 0,0 0 0 0 0,1 0 0 0 0,-8 10 0 0 0,11-14-12 0 0,1 0-1 0 0,0 0 0 0 0,0 0 1 0 0,0 1-1 0 0,0-1 1 0 0,0 0-1 0 0,0 0 0 0 0,0 0 1 0 0,0 0-1 0 0,0 0 0 0 0,-1 0 1 0 0,1 1-1 0 0,0-1 1 0 0,0 0-1 0 0,0 0 0 0 0,0 0 1 0 0,0 0-1 0 0,0 0 0 0 0,0 1 1 0 0,0-1-1 0 0,0 0 0 0 0,0 0 1 0 0,0 0-1 0 0,0 0 1 0 0,0 0-1 0 0,0 0 0 0 0,0 1 1 0 0,0-1-1 0 0,1 0 0 0 0,-1 0 1 0 0,0 0-1 0 0,0 0 0 0 0,0 0 1 0 0,0 1-1 0 0,0-1 1 0 0,0 0-1 0 0,0 0 0 0 0,0 0 1 0 0,0 0-1 0 0,13 2-64 0 0,12-1 37 0 0,-1-2 0 0 0,0-1 1 0 0,0 0-1 0 0,27-8 1 0 0,104-31 144 0 0,-111 28-104 0 0,661-228 333 0 0,-676 228-303 0 0,-23 9-33 0 0,-20 6-20 0 0,-32 11 169 0 0,-64 28 0 0 0,-52 32-131 0 0,100-44-8 0 0,-293 148-7 0 0,343-170-11 0 0,-34 21 28 0 0,44-26-31 0 0,-1 0 0 0 0,0 0 0 0 0,1 1 1 0 0,-1-1-1 0 0,1 1 0 0 0,0-1 0 0 0,0 1 0 0 0,0 0 0 0 0,0 0 0 0 0,0 0 0 0 0,-1 4 0 0 0,3-7-1 0 0,0 0 0 0 0,0 0 0 0 0,-1 1 0 0 0,1-1 0 0 0,0 0 0 0 0,0 0 0 0 0,0 1 0 0 0,0-1-1 0 0,0 0 1 0 0,0 0 0 0 0,0 1 0 0 0,0-1 0 0 0,0 0 0 0 0,0 0 0 0 0,0 1 0 0 0,0-1 0 0 0,0 0 0 0 0,0 0 0 0 0,0 0-1 0 0,0 1 1 0 0,1-1 0 0 0,-1 0 0 0 0,0 0 0 0 0,0 1 0 0 0,0-1 0 0 0,0 0 0 0 0,0 0 0 0 0,0 0 0 0 0,1 1-1 0 0,-1-1 1 0 0,15 4-85 0 0,18-3 55 0 0,0 0-1 0 0,0-2 1 0 0,36-7-1 0 0,109-23 121 0 0,-143 23-83 0 0,210-45 85 0 0,185-32 55 0 0,-392 80-161 0 0,-27 5-50 0 0,-11 3-8 0 0,-8 2-16 0 0,-51 22 122 0 0,-82 28-1 0 0,45-20 64 0 0,59-21-60 0 0,-44 19 39 0 0,70-26-27 0 0,9-3-21 0 0,8-2 0 0 0,48-6-16 0 0,0-3 0 0 0,82-19 1 0 0,-43 6 54 0 0,-48 12-23 0 0,-3-1-21 0 0,0 2-1 0 0,60-2 1 0 0,-101 9-24 0 0,-1 0 1 0 0,0 0-1 0 0,0 0 0 0 0,0 0 1 0 0,0 0-1 0 0,1 0 1 0 0,-1 0-1 0 0,0 0 1 0 0,0 0-1 0 0,0 0 0 0 0,0 0 1 0 0,0 0-1 0 0,1 0 1 0 0,-1 0-1 0 0,0 1 0 0 0,0-1 1 0 0,0 0-1 0 0,0 0 1 0 0,0 0-1 0 0,0 0 0 0 0,0 0 1 0 0,1 0-1 0 0,-1 0 1 0 0,0 1-1 0 0,0-1 0 0 0,0 0 1 0 0,0 0-1 0 0,0 0 1 0 0,0 0-1 0 0,0 0 0 0 0,0 1 1 0 0,0-1-1 0 0,0 0 1 0 0,0 0-1 0 0,0 0 0 0 0,0 0 1 0 0,0 1-1 0 0,0-1 1 0 0,0 0-1 0 0,0 0 0 0 0,0 0 1 0 0,0 0-1 0 0,0 0 1 0 0,0 1-1 0 0,0-1 0 0 0,0 0 1 0 0,0 0-1 0 0,0 0 1 0 0,-4 7-34 0 0,-2 0 58 0 0,0 0 0 0 0,-1 0 0 0 0,0-1 0 0 0,-1 0 0 0 0,1-1-1 0 0,-1 0 1 0 0,0 0 0 0 0,-10 4 0 0 0,-4 4 37 0 0,0 0 38 0 0,10-7-41 0 0,1 1-1 0 0,-1 0 0 0 0,1 1 0 0 0,-11 11 1 0 0,22-18-62 0 0,-1-1 1 0 0,0 1-1 0 0,1-1 1 0 0,-1 1-1 0 0,0 0 1 0 0,1-1-1 0 0,-1 1 1 0 0,1 0-1 0 0,-1-1 1 0 0,1 1-1 0 0,-1 0 1 0 0,1 0-1 0 0,0 0 1 0 0,-1-1-1 0 0,1 1 1 0 0,0 0-1 0 0,0 0 1 0 0,-1 0-1 0 0,1 0 1 0 0,0 0-1 0 0,0 0 1 0 0,0 0-1 0 0,0 1 1 0 0,1-1 0 0 0,0-1 1 0 0,-1 1 0 0 0,1 0 0 0 0,0-1 0 0 0,0 1-1 0 0,-1-1 1 0 0,1 1 0 0 0,0 0 0 0 0,0-1-1 0 0,0 0 1 0 0,0 1 0 0 0,0-1 0 0 0,-1 0-1 0 0,1 1 1 0 0,0-1 0 0 0,0 0 0 0 0,0 0-1 0 0,0 0 1 0 0,0 0 0 0 0,0 0 0 0 0,0 0 0 0 0,2 0-1 0 0,143-3-789 0 0,-122 1 209 0 0,-1-2 0 0 0,0 0 0 0 0,0-2 0 0 0,30-10 0 0 0,43-27-3643 0 0</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39.554"/>
    </inkml:context>
    <inkml:brush xml:id="br0">
      <inkml:brushProperty name="width" value="0.35" units="cm"/>
      <inkml:brushProperty name="height" value="0.35" units="cm"/>
      <inkml:brushProperty name="ignorePressure" value="1"/>
    </inkml:brush>
  </inkml:definitions>
  <inkml:trace contextRef="#ctx0" brushRef="#br0">0 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08.389"/>
    </inkml:context>
    <inkml:brush xml:id="br0">
      <inkml:brushProperty name="width" value="0.35" units="cm"/>
      <inkml:brushProperty name="height" value="0.35" units="cm"/>
    </inkml:brush>
  </inkml:definitions>
  <inkml:trace contextRef="#ctx0" brushRef="#br0">1210 156 9764 0 0,'0'0'273'0'0,"-3"-16"137"0"0,-14-51 415 0 0,16 62-609 0 0,0 0 0 0 0,0 0 1 0 0,-1 1-1 0 0,1-1 0 0 0,-1 1 1 0 0,0 0-1 0 0,0-1 0 0 0,-1 1 0 0 0,1 0 1 0 0,-1 0-1 0 0,-6-6 0 0 0,7 8-119 0 0,0 1 1 0 0,0 0-1 0 0,-1 0 0 0 0,1 0 1 0 0,0 0-1 0 0,-1 0 0 0 0,1 1 0 0 0,-1-1 1 0 0,1 1-1 0 0,-1 0 0 0 0,1-1 0 0 0,-1 1 1 0 0,1 0-1 0 0,-1 0 0 0 0,1 1 0 0 0,-1-1 1 0 0,1 0-1 0 0,0 1 0 0 0,-4 1 1 0 0,-3 0-52 0 0,0 1 0 0 0,-1 0 0 0 0,2 1 0 0 0,-1 0 0 0 0,-15 9-1 0 0,-39 32-95 0 0,37-25 54 0 0,-326 263 1 0 0,350-281-21 0 0,3-4-1 0 0,-1 1 1 0 0,1 0-1 0 0,-1-1 0 0 0,1 1 0 0 0,0 0 0 0 0,0-1 0 0 0,-1 1 0 0 0,1 0 0 0 0,0 0 0 0 0,0 0 0 0 0,0 0 0 0 0,2-1 0 0 0,2-4-51 0 0,113-120 159 0 0,-109 115-53 0 0,47-62-8 0 0,-50 64-19 0 0,0 0-1 0 0,0-1 1 0 0,-1 1-1 0 0,-1-1 0 0 0,1 0 1 0 0,2-12-1 0 0,-7 22-10 0 0,0-1 0 0 0,0 1 0 0 0,1-1 0 0 0,-1 1-1 0 0,0-1 1 0 0,0 1 0 0 0,0-1 0 0 0,0 1-1 0 0,0-1 1 0 0,1 1 0 0 0,-1-1 0 0 0,0 1 0 0 0,0-1-1 0 0,-1 1 1 0 0,1-1 0 0 0,0 1 0 0 0,0-1 0 0 0,0 1-1 0 0,0-1 1 0 0,0 0 0 0 0,0 1 0 0 0,-1 0 0 0 0,1-1-1 0 0,0 1 1 0 0,0-1 0 0 0,-1 1 0 0 0,1-1 0 0 0,0 1-1 0 0,-1-1 1 0 0,1 1 0 0 0,-1 0 0 0 0,1-1 0 0 0,0 1-1 0 0,-1 0 1 0 0,1-1 0 0 0,-1 1 0 0 0,1 0 0 0 0,-1 0-1 0 0,1-1 1 0 0,-1 1 0 0 0,1 0 0 0 0,-2 0 0 0 0,-1 0 1 0 0,0 0 0 0 0,0 0 1 0 0,0 0-1 0 0,0 1 1 0 0,0-1-1 0 0,0 1 1 0 0,-3 1-1 0 0,-20 8 3 0 0,1 1 1 0 0,0 2-1 0 0,1 0 0 0 0,-30 22 1 0 0,23-14-22 0 0,-170 113 63 0 0,197-132-48 0 0,-6 5-53 0 0,13-10-54 0 0,18-13-128 0 0,-8 6 216 0 0,93-82 99 0 0,-88 75-30 0 0,-1-1 1 0 0,-1-1-1 0 0,22-33 1 0 0,-34 47-33 0 0,-1 0 0 0 0,0 0 0 0 0,-1 0 0 0 0,1 0 0 0 0,-1 0 0 0 0,0-1 0 0 0,0 0 0 0 0,-1 1 0 0 0,1-1 0 0 0,-1 0 0 0 0,0-6 0 0 0,-1 11-16 0 0,0 1-1 0 0,0 0 1 0 0,0 0 0 0 0,0 0 0 0 0,0-1 0 0 0,0 1-1 0 0,0 0 1 0 0,0 0 0 0 0,0-1 0 0 0,0 1 0 0 0,0 0 0 0 0,0 0-1 0 0,0 0 1 0 0,0-1 0 0 0,0 1 0 0 0,0 0 0 0 0,0 0-1 0 0,-1 0 1 0 0,1 0 0 0 0,0-1 0 0 0,0 1 0 0 0,0 0 0 0 0,0 0-1 0 0,0 0 1 0 0,-1 0 0 0 0,1-1 0 0 0,0 1 0 0 0,0 0-1 0 0,0 0 1 0 0,-1 0 0 0 0,1 0 0 0 0,0 0 0 0 0,0 0 0 0 0,0 0-1 0 0,-1 0 1 0 0,1 0 0 0 0,0 0 0 0 0,0 0 0 0 0,0-1-1 0 0,-1 1 1 0 0,1 0 0 0 0,0 0 0 0 0,-1 1 0 0 0,-10-2 14 0 0,0 0-1 0 0,0 1 1 0 0,0 0 0 0 0,-1 1 0 0 0,1 1 0 0 0,0 0 0 0 0,0 0 0 0 0,0 1 0 0 0,-20 8 0 0 0,-9 7-62 0 0,-45 26 0 0 0,62-32 55 0 0,-56 36 25 0 0,78-47-61 0 0,2-1-4 0 0,1-1 0 0 0,-1 1 0 0 0,1 0 0 0 0,-1-1 0 0 0,1 1 0 0 0,-1-1 0 0 0,1 1 0 0 0,-1-1 0 0 0,1 0 0 0 0,-1 0 0 0 0,0 0 1 0 0,1 1-1 0 0,0-3 0 0 0,6-2-16 0 0,7-5 60 0 0,48-32 9 0 0,-56 37 16 0 0,0-1-1 0 0,-1 1 1 0 0,0-1 0 0 0,0 0-1 0 0,-1-1 1 0 0,9-11 0 0 0,-12 8 43 0 0,-16 11 12 0 0,-8 4-81 0 0,1 0 0 0 0,0 2 0 0 0,0 1 0 0 0,1 0-1 0 0,-21 13 1 0 0,17-10-15 0 0,-245 125 93 0 0,353-183-475 0 0,-25 13 473 0 0,2 2-1 0 0,73-27 0 0 0,-128 57-105 0 0,13-3-83 0 0,-19 5 99 0 0,0 1 1 0 0,0-1-1 0 0,0 0 0 0 0,0 0 0 0 0,0 0 0 0 0,0 0 0 0 0,1 1 0 0 0,-1-1 0 0 0,0 0 0 0 0,0 0 0 0 0,0 0 1 0 0,0 0-1 0 0,0 1 0 0 0,0-1 0 0 0,0 0 0 0 0,0 0 0 0 0,0 0 0 0 0,0 1 0 0 0,0-1 0 0 0,0 0 0 0 0,0 0 1 0 0,0 0-1 0 0,0 0 0 0 0,0 1 0 0 0,0-1 0 0 0,0 0 0 0 0,-1 0 0 0 0,1 0 0 0 0,0 0 0 0 0,0 1 1 0 0,0-1-1 0 0,0 0 0 0 0,0 0 0 0 0,0 0 0 0 0,-1 1 0 0 0,1-1-2 0 0,-4 8 22 0 0,0-1 1 0 0,-1 0 0 0 0,0 1 0 0 0,-1-2 0 0 0,0 1 0 0 0,1-1 0 0 0,-11 8 0 0 0,-3 5 16 0 0,-150 153 108 0 0,166-170-144 0 0,1 1 1 0 0,1-1-1 0 0,-1 0 0 0 0,0 1 1 0 0,0-1-1 0 0,1 1 0 0 0,0 0 1 0 0,-1-1-1 0 0,1 1 0 0 0,-1 4 1 0 0,3-3-30 0 0,6-4-46 0 0,-3-1 38 0 0,11-2-4 0 0,-1 0-1 0 0,0-1 1 0 0,-1-1 0 0 0,1 0-1 0 0,13-8 1 0 0,70-42 186 0 0,-60 33-103 0 0,36-22 55 0 0,112-59 55 0 0,-176 100-231 0 0,-5 7-57 0 0,-6 13 60 0 0,1-16 96 0 0,-2 7 6 0 0,0 0 0 0 0,-1 0 0 0 0,0 0 0 0 0,-1-1 0 0 0,0 1 1 0 0,0-1-1 0 0,0-1 0 0 0,-10 10 0 0 0,-8 12 6 0 0,-3 4-13 0 0,-24 34-18 0 0,46-60 4 0 0,0 0 0 0 0,1 0 0 0 0,-1 1 0 0 0,2 0 0 0 0,-1-1 0 0 0,1 1 0 0 0,0 0 0 0 0,-2 14 0 0 0,3-18-5 0 0,1-3 2 0 0,0 1 0 0 0,0-1 0 0 0,-1 1 0 0 0,1-1 0 0 0,0 1 0 0 0,0-1 0 0 0,0 1 0 0 0,0-1 0 0 0,0 1 0 0 0,0-1 0 0 0,0 1 0 0 0,0-1 0 0 0,0 1 0 0 0,0-1-1 0 0,0 1 1 0 0,0-1 0 0 0,0 1 0 0 0,0-1 0 0 0,0 1 0 0 0,0-1 0 0 0,1 1 0 0 0,-1-1 0 0 0,0 1 0 0 0,0-1 0 0 0,1 1 0 0 0,-1-1 0 0 0,0 0 0 0 0,1 1 0 0 0,-1-1 0 0 0,0 0 0 0 0,1 1 0 0 0,-1-1 0 0 0,0 0 0 0 0,1 1 0 0 0,-1-1 0 0 0,1 0 0 0 0,-1 1-1 0 0,1-1 1 0 0,-1 0 0 0 0,1 0 0 0 0,-1 0 0 0 0,1 0 0 0 0,-1 0 0 0 0,1 1 0 0 0,-1-1 0 0 0,1 0 0 0 0,0 0 0 0 0,13 0-31 0 0,0-1-1 0 0,0 0 1 0 0,0-1-1 0 0,0-1 1 0 0,0 0-1 0 0,0 0 1 0 0,23-11-1 0 0,98-49 72 0 0,-117 53-2 0 0,127-66 126 0 0,96-48 53 0 0,-233 120-220 0 0,-6 2-4 0 0,1 1 1 0 0,-1 0 0 0 0,0 0-1 0 0,0 0 1 0 0,1 0-1 0 0,-1 1 1 0 0,0-1 0 0 0,1 1-1 0 0,-1-1 1 0 0,5 1-1 0 0,-8 4-136 0 0,-6 5 164 0 0,-1 1-1 0 0,0-1 1 0 0,-1 0-1 0 0,1-1 1 0 0,-2 0 0 0 0,1 0-1 0 0,-14 8 1 0 0,-13 11 10 0 0,-67 54 35 0 0,-168 146-5 0 0,266-222-50 0 0,4-4-7 0 0,-1 0 0 0 0,1 0 0 0 0,0 0 0 0 0,-1 1 1 0 0,1-1-1 0 0,0 0 0 0 0,0 1 0 0 0,0-1 0 0 0,0 1 1 0 0,0-1-1 0 0,0 1 0 0 0,0 0 0 0 0,0-1 0 0 0,1 1 1 0 0,-1 0-1 0 0,1 0 0 0 0,-1 3 0 0 0,2-4-21 0 0,6-1-41 0 0,6-2-1 0 0,0-1 1 0 0,0 0-1 0 0,-1-1 1 0 0,17-7-1 0 0,54-27 76 0 0,-44 18 31 0 0,288-163 327 0 0,-280 151-333 0 0,10-5-72 0 0,-75 60 21 0 0,-18 8 113 0 0,-50 31 0 0 0,25-19-37 0 0,-120 81-41 0 0,-20 14 139 0 0,174-116-7 0 0,27-22-156 0 0,1 0 0 0 0,-1 0-1 0 0,0 0 1 0 0,0 0 0 0 0,0 0-1 0 0,0 0 1 0 0,1 0-1 0 0,-1 0 1 0 0,0 0 0 0 0,0 0-1 0 0,0 0 1 0 0,0 0 0 0 0,1 0-1 0 0,-1 0 1 0 0,0 0-1 0 0,0 0 1 0 0,0 0 0 0 0,0 0-1 0 0,1 0 1 0 0,-1 0 0 0 0,0 1-1 0 0,0-1 1 0 0,0 0-1 0 0,0 0 1 0 0,0 0 0 0 0,0 0-1 0 0,1 0 1 0 0,-1 0 0 0 0,0 1-1 0 0,0-1 1 0 0,0 0-1 0 0,0 0 1 0 0,0 0 0 0 0,0 0-1 0 0,0 1 1 0 0,0-1 0 0 0,0 0-1 0 0,0 0 1 0 0,0 0-1 0 0,0 0 1 0 0,0 1 0 0 0,0-1-1 0 0,0 0 1 0 0,0 0 0 0 0,0 0-1 0 0,0 0 1 0 0,0 1-1 0 0,0-1 1 0 0,0 0 0 0 0,0 0-1 0 0,0 0 1 0 0,0 0 0 0 0,0 1-1 0 0,0-1 1 0 0,0 0-1 0 0,0 0 1 0 0,-1 0 0 0 0,1 0-1 0 0,0 0 1 0 0,0 1 0 0 0,0-1-1 0 0,0 0 1 0 0,0 0-1 0 0,-1 0 1 0 0,24-4-95 0 0,26-12 39 0 0,0-2-1 0 0,46-25 1 0 0,99-60 278 0 0,-176 93-208 0 0,220-130 99 0 0,-31 18-78 0 0,-195 115-39 0 0,-9 5-9 0 0,0 0-1 0 0,0 0 0 0 0,0 1 0 0 0,1-1 0 0 0,-1 1 1 0 0,0 0-1 0 0,1 0 0 0 0,6-1 0 0 0,-10 2 11 0 0,0 0 0 0 0,0 0 0 0 0,0 0 0 0 0,0 0 0 0 0,0 0 0 0 0,0 0 0 0 0,0-1 0 0 0,0 1 0 0 0,0 0 0 0 0,1 1 0 0 0,-1-1 0 0 0,0 0 0 0 0,0 0 0 0 0,0 0 0 0 0,0 0 0 0 0,0 0 1 0 0,0 0-1 0 0,0 0 0 0 0,0 0 0 0 0,0 0 0 0 0,0 0 0 0 0,1 0 0 0 0,-1 0 0 0 0,0 0 0 0 0,0 0 0 0 0,0 0 0 0 0,0 0 0 0 0,0 0 0 0 0,0 0 0 0 0,0 0 0 0 0,0 0 0 0 0,0 1 0 0 0,0-1 0 0 0,0 0 0 0 0,0 0 0 0 0,0 0 0 0 0,0 0 0 0 0,0 0 0 0 0,0 0 0 0 0,0 0 0 0 0,0 0 0 0 0,0 0 0 0 0,0 0 0 0 0,0 1 0 0 0,0-1 0 0 0,0 0 0 0 0,0 0 0 0 0,0 0 0 0 0,0 0 0 0 0,0 0 0 0 0,0 0 0 0 0,0 0 0 0 0,0 0 0 0 0,0 0 0 0 0,0 0 0 0 0,0 1 0 0 0,0-1 0 0 0,0 0 0 0 0,0 0 0 0 0,0 0 0 0 0,0 0 0 0 0,-1 3 5 0 0,1 0 0 0 0,-1 0-1 0 0,0 0 1 0 0,0 0 0 0 0,0 0-1 0 0,0 0 1 0 0,-1 0 0 0 0,1 0-1 0 0,-1-1 1 0 0,0 1 0 0 0,0-1-1 0 0,0 1 1 0 0,0-1 0 0 0,0 0-1 0 0,0 0 1 0 0,0 1 0 0 0,-5 1-1 0 0,-3 6 25 0 0,-435 384 251 0 0,425-378-269 0 0,5-4-4 0 0,0 0 0 0 0,1 0 0 0 0,-14 18 0 0 0,27-30-5 0 0,1 1-1 0 0,0-1 1 0 0,-1 0 0 0 0,1 1 0 0 0,-1-1-1 0 0,1 1 1 0 0,0-1 0 0 0,-1 1 0 0 0,1-1-1 0 0,0 1 1 0 0,-1-1 0 0 0,1 1 0 0 0,0-1-1 0 0,0 1 1 0 0,0-1 0 0 0,0 1-1 0 0,-1 0 1 0 0,1-1 0 0 0,0 1 0 0 0,0-1-1 0 0,0 1 1 0 0,0-1 0 0 0,0 1 0 0 0,0 0-1 0 0,0-1 1 0 0,1 1 0 0 0,-1 0 0 0 0,1-1-6 0 0,0 1 0 0 0,1-1 0 0 0,-1 0 1 0 0,0 1-1 0 0,0-1 0 0 0,1 0 1 0 0,-1 0-1 0 0,0 0 0 0 0,1 0 1 0 0,-1 0-1 0 0,0 0 0 0 0,1 0 0 0 0,-1-1 1 0 0,0 1-1 0 0,2-1 0 0 0,24-6-83 0 0,-1-1 1 0 0,46-20-1 0 0,55-34 154 0 0,-106 51-43 0 0,260-148 91 0 0,-2 2-28 0 0,-267 150-98 0 0,-10 6 7 0 0,0-1 0 0 0,0 1-1 0 0,0 0 1 0 0,0 0 0 0 0,0 0 0 0 0,0 0-1 0 0,1 0 1 0 0,-1 1 0 0 0,0-1-1 0 0,0 1 1 0 0,5-1 0 0 0,-8 6-112 0 0,-9 8 146 0 0,-1 0-1 0 0,0 0 0 0 0,0-1 0 0 0,-1-1 0 0 0,-1 0 1 0 0,-19 14-1 0 0,3-2 1 0 0,-277 223 148 0 0,284-229-167 0 0,-22 17 15 0 0,41-31-15 0 0,-1 1 0 0 0,0 0 0 0 0,1 0 0 0 0,0 0 0 0 0,0 0 0 0 0,0 0-1 0 0,-4 9 1 0 0,7-11-13 0 0,6-3-40 0 0,24-7-9 0 0,0-2 0 0 0,-1-1-1 0 0,52-28 1 0 0,-47 21 69 0 0,365-186 136 0 0,-385 197-144 0 0,19-8-1 0 0,-32 14-2 0 0,1 0 0 0 0,-1 0 0 0 0,0 0-1 0 0,1 0 1 0 0,-1 0 0 0 0,0 0 0 0 0,0 0-1 0 0,0 0 1 0 0,1-1 0 0 0,-1 1 0 0 0,-1 0-1 0 0,1-1 1 0 0,0 1 0 0 0,0-1 0 0 0,0 1-1 0 0,0-3 1 0 0,-1 3 2 0 0,0 1-6 0 0,0-1 0 0 0,0 1 0 0 0,1 0 0 0 0,-1-1 0 0 0,0 1 0 0 0,0 0 0 0 0,0 0 0 0 0,0-1 0 0 0,0 1 0 0 0,0 0 0 0 0,0-1 0 0 0,0 1 1 0 0,-1 0-1 0 0,1 0 0 0 0,0-1 0 0 0,0 1 0 0 0,0 0 0 0 0,0-1 0 0 0,0 1 0 0 0,0 0 0 0 0,-1 0 0 0 0,1-1 0 0 0,0 1 0 0 0,0 0 0 0 0,0 0 1 0 0,0 0-1 0 0,-1-1 0 0 0,1 1 0 0 0,0 0 0 0 0,0 0 0 0 0,-1 0 0 0 0,1-1 0 0 0,0 1 0 0 0,0 0 0 0 0,-1 0 0 0 0,1 0 0 0 0,0 0 0 0 0,-1 0 1 0 0,1 0-1 0 0,0 0 0 0 0,0 0 0 0 0,-1 0 0 0 0,1 0 0 0 0,0 0 0 0 0,-1 0 0 0 0,1 0 0 0 0,0 0 0 0 0,-1 0 0 0 0,1 0 0 0 0,-1 0 0 0 0,-50-5 49 0 0,0 1-1 0 0,-61 5 0 0 0,45 0-10 0 0,44-2-10 0 0,18 0-27 0 0,0 1-1 0 0,0 0 1 0 0,0 0 0 0 0,0 0 0 0 0,-7 2 0 0 0,13 2-7 0 0,0-2-5 0 0,1 0 0 0 0,-1-1 0 0 0,1 1 1 0 0,0-1-1 0 0,0 1 0 0 0,-1-1 0 0 0,1 0 1 0 0,4 2-1 0 0,21 9-51 0 0,1-1 0 0 0,42 10 0 0 0,-60-18 62 0 0,108 28 82 0 0,128 15 0 0 0,125-1 450 0 0,-244-32-434 0 0,-88-9-70 0 0,443 69 164 0 0,-482-73-190 0 0,0-1 0 0 0,0 1 1 0 0,0 0-1 0 0,0 0 1 0 0,0 0-1 0 0,0 0 0 0 0,0 0 1 0 0,0 0-1 0 0,0 0 1 0 0,0 0-1 0 0,0-1 0 0 0,0 1 1 0 0,0 0-1 0 0,0 0 1 0 0,0 0-1 0 0,0 0 0 0 0,0 0 1 0 0,0 0-1 0 0,0 0 1 0 0,0 0-1 0 0,0-1 0 0 0,0 1 1 0 0,1 0-1 0 0,-1 0 1 0 0,0 0-1 0 0,0 0 0 0 0,0 0 1 0 0,0 0-1 0 0,0 0 1 0 0,0 0-1 0 0,0 0 0 0 0,0 0 1 0 0,0 0-1 0 0,0 0 1 0 0,0-1-1 0 0,1 1 0 0 0,-1 0 1 0 0,0 0-1 0 0,0 0 1 0 0,0 0-1 0 0,0 0 0 0 0,0 0 1 0 0,0 0-1 0 0,0 0 1 0 0,1 0-1 0 0,-1 0 0 0 0,0 0 1 0 0,0 0-1 0 0,0 0 1 0 0,0 0-1 0 0,0 0 0 0 0,0 0 1 0 0,0 0-1 0 0,0 0 1 0 0,1 1-1 0 0,-13-11 89 0 0,-26-8-61 0 0,0 2 1 0 0,-1 1-1 0 0,-49-11 0 0 0,51 15-46 0 0,-134-35-296 0 0,-3 7 1 0 0,-238-23 0 0 0,388 59 325 0 0,18 2-5 0 0,1 0-1 0 0,0 1 1 0 0,0-1-1 0 0,0 1 0 0 0,-10 2 1 0 0,14-1-3 0 0,11 3-22 0 0,242 66-213 0 0,-182-53 205 0 0,199 44 132 0 0,135 35 257 0 0,-273-59-243 0 0,128 54-1 0 0,-198-65-76 0 0,107 64 1 0 0,-143-74-25 0 0,-1 1 0 0 0,0 1 0 0 0,-2 0 1 0 0,0 2-1 0 0,-1 1 0 0 0,29 37 0 0 0,-49-57-20 0 0,-1-1 1 0 0,1 1-1 0 0,-1-1 0 0 0,1 1 0 0 0,-1 0 0 0 0,1-1 0 0 0,-1 1 0 0 0,0-1 1 0 0,1 1-1 0 0,-1 0 0 0 0,0 0 0 0 0,1-1 0 0 0,-1 1 0 0 0,0 0 0 0 0,0 0 0 0 0,0-1 1 0 0,0 1-1 0 0,1 0 0 0 0,-1 0 0 0 0,-1 1 0 0 0,0-2 5 0 0,0 0 1 0 0,0 0-1 0 0,0 0 0 0 0,0 0 1 0 0,0 0-1 0 0,0 0 0 0 0,0 0 0 0 0,0 0 1 0 0,0 0-1 0 0,0 0 0 0 0,0 0 1 0 0,0-1-1 0 0,-1 1 0 0 0,1-1 1 0 0,0 1-1 0 0,1 0 0 0 0,-3-2 0 0 0,-180-89 15 0 0,112 53-262 0 0,-392-212-1684 0 0,231 123 1983 0 0,229 127 279 0 0,5 4-252 0 0,8 9-70 0 0,27 13-45 0 0,51 28 1 0 0,-53-34 34 0 0,642 345 702 0 0,-588-319-517 0 0,263 149 163 0 0,-272-145-292 0 0,-3 4-1 0 0,87 78 1 0 0,-134-102-80 0 0,-24-22 12 0 0,-6-8 6 0 0,0 0 0 0 0,1 1 0 0 0,-1-1 0 0 0,0 0 0 0 0,0 0 0 0 0,0 0 1 0 0,0 0-1 0 0,0 0 0 0 0,0 1 0 0 0,0-1 0 0 0,0 0 0 0 0,0 0 1 0 0,0 0-1 0 0,0 0 0 0 0,0 0 0 0 0,-1 1 0 0 0,1-1 0 0 0,0 0 0 0 0,0 0 1 0 0,0 0-1 0 0,0 0 0 0 0,0 0 0 0 0,0 1 0 0 0,0-1 0 0 0,0 0 0 0 0,0 0 1 0 0,0 0-1 0 0,0 0 0 0 0,-1 0 0 0 0,1 0 0 0 0,0 0 0 0 0,0 0 1 0 0,0 0-1 0 0,0 1 0 0 0,0-1 0 0 0,0 0 0 0 0,-1 0 0 0 0,1 0 0 0 0,0 0 1 0 0,-3 0 6 0 0,0 0-1 0 0,-1 1 1 0 0,1-2 0 0 0,0 1 0 0 0,0 0 0 0 0,0-1 0 0 0,0 1 0 0 0,0-1 0 0 0,-6-2 0 0 0,-33-13-334 0 0,-72-38 0 0 0,86 41 85 0 0,-727-418-4095 0 0,678 384 3994 0 0,-315-175 637 0 0,329 192 797 0 0,62 30-1068 0 0,-21-5 612 0 0,16 8-256 0 0,8 10 230 0 0,0-7-591 0 0,1 0-1 0 0,0 0 1 0 0,0-1 0 0 0,1 1 0 0 0,0 0 0 0 0,0-1 0 0 0,0 0 0 0 0,7 6-1 0 0,48 39-32 0 0,-56-48 19 0 0,714 483 991 0 0,-695-471-957 0 0,259 167 403 0 0,-213-133-344 0 0,120 112 0 0 0,-148-119-31 0 0,47 62 1 0 0,-85-100-43 0 0,-8-9 77 0 0,-57-49-336 0 0,-90-62 0 0 0,56 46-103 0 0,-141-111-240 0 0,-439-329-79 0 0,498 388 1017 0 0,135 98 142 0 0,42 24-445 0 0,-12-4 178 0 0,11 8-82 0 0,8 7 122 0 0,9 9-275 0 0,1 0 1 0 0,31 28-1 0 0,45 32 6 0 0,-31-28-2 0 0,170 141 494 0 0,492 310 1 0 0,-455-331-459 0 0,-217-139-32 0 0,-36-22-20 0 0,29 13 0 0 0,-43-22 12 0 0,0-1 0 0 0,1 0 0 0 0,-1 0 1 0 0,0 0-1 0 0,0 0 0 0 0,0 0 0 0 0,0 0 0 0 0,0 0 0 0 0,1 0 0 0 0,-1 0 0 0 0,0 1 0 0 0,0-1 0 0 0,0 0 0 0 0,0 0 0 0 0,1 0 0 0 0,-1 0 0 0 0,0 0 0 0 0,0 0 0 0 0,0 0 0 0 0,0 0 0 0 0,1 0 0 0 0,-1 0 0 0 0,0 0 1 0 0,0 0-1 0 0,0-1 0 0 0,1 1 0 0 0,-1 0 0 0 0,0 0 0 0 0,0 0 0 0 0,0 0 0 0 0,0 0 0 0 0,0 0 0 0 0,1 0 0 0 0,-1 0 0 0 0,0 0 0 0 0,0-1 0 0 0,0 1 0 0 0,0 0 0 0 0,0 0 0 0 0,0 0 0 0 0,0 0 0 0 0,1 0 1 0 0,-1-1-1 0 0,0 1 0 0 0,0 0 0 0 0,0 0 0 0 0,0-1 0 0 0,-1-10 45 0 0,0 8-29 0 0,0-3 4 0 0,-1 0 0 0 0,1 0 1 0 0,-1 1-1 0 0,-1-1 0 0 0,1 0 0 0 0,-1 1 0 0 0,-5-8 0 0 0,-3-3 12 0 0,-19-19-1 0 0,-97-101-419 0 0,-178-147 0 0 0,260 243 376 0 0,-39-29 286 0 0,106 95 262 0 0,154 108-498 0 0,-85-69 103 0 0,252 206 305 0 0,-247-184-330 0 0,119 135-1 0 0,-65-37-83 0 0,-48-56-16 0 0,-85-111 36 0 0,-22-27 8 0 0,5 9-52 0 0,-21-31 23 0 0,-1 1 0 0 0,-1 0 1 0 0,-27-25-1 0 0,8 9-140 0 0,-407-456-840 0 0,436 490 1012 0 0,9 11 78 0 0,5 5-130 0 0,0-1-1 0 0,0 0 0 0 0,1 0 1 0 0,-1 0-1 0 0,1 0 1 0 0,3 4-1 0 0,70 86-94 0 0,-36-48 75 0 0,70 92 174 0 0,-5 4 0 0 0,-7 5 1 0 0,103 210-1 0 0,-102-168 166 0 0,-80-160-320 0 0,-18-27-11 0 0,0-1 1 0 0,0 1-1 0 0,1-1 1 0 0,-1 0-1 0 0,0 1 1 0 0,0-1-1 0 0,1 1 1 0 0,-1-1-1 0 0,0 0 0 0 0,1 1 1 0 0,-1-1-1 0 0,1 1 1 0 0,-1-1-1 0 0,0 0 1 0 0,1 0-1 0 0,-1 1 1 0 0,1-1-1 0 0,-1 0 1 0 0,1 0-1 0 0,-1 0 1 0 0,1 1-1 0 0,-1-1 1 0 0,1 0-1 0 0,-1 0 1 0 0,1 0-1 0 0,-1 0 1 0 0,2 0-1 0 0,-2-2 5 0 0,1 1 0 0 0,-1-1 0 0 0,0 0 0 0 0,0 0 0 0 0,1 1-1 0 0,-1-1 1 0 0,0 0 0 0 0,0 0 0 0 0,0 1 0 0 0,-1-1 0 0 0,1-2 0 0 0,-2-7 11 0 0,0 0 0 0 0,0 0 0 0 0,-1 0-1 0 0,-1 0 1 0 0,1 1 0 0 0,-9-16 0 0 0,-39-60-52 0 0,24 43-15 0 0,-206-322-605 0 0,174 276 722 0 0,41 59-28 0 0,17 38 121 0 0,2 10-156 0 0,5 3-13 0 0,2 0-1 0 0,0-1 0 0 0,1 0 0 0 0,0 0 1 0 0,17 23-1 0 0,-25-42 11 0 0,93 163 96 0 0,92 157 157 0 0,18-11 241 0 0,-173-267-306 0 0,44 44-1 0 0,-59-70-148 0 0,0-2 0 0 0,2 1 0 0 0,0-2 0 0 0,1 0 0 0 0,21 11 0 0 0,-34-22-41 0 0,1 1 0 0 0,0-1 1 0 0,0 0-1 0 0,0-1 1 0 0,0 0-1 0 0,0 0 0 0 0,0 0 1 0 0,1-1-1 0 0,9 0 1 0 0,-16-1 1 0 0,0 0 0 0 0,0 0 1 0 0,0 0-1 0 0,0 0 1 0 0,0 0-1 0 0,0 0 0 0 0,0 0 1 0 0,1-1-1 0 0,-1 1 1 0 0,0 0-1 0 0,0-1 0 0 0,0 1 1 0 0,0-1-1 0 0,0 1 1 0 0,-1-1-1 0 0,1 0 0 0 0,0 1 1 0 0,0-1-1 0 0,0 0 1 0 0,0 1-1 0 0,-1-1 0 0 0,1 0 1 0 0,0 0-1 0 0,-1 0 1 0 0,1 0-1 0 0,0-1 0 0 0,0-2 5 0 0,0 1 0 0 0,0-1 0 0 0,0 0 0 0 0,0 0 0 0 0,0-7 0 0 0,-1 6 0 0 0,1-13-2 0 0,0 1 0 0 0,-2 0-1 0 0,0 0 1 0 0,-1 0 0 0 0,-1 0 0 0 0,0 0 0 0 0,-2 0 0 0 0,-11-30-1 0 0,-3 3-126 0 0,-50-80-1 0 0,5 27 77 0 0,-105-123 0 0 0,169 220 51 0 0,0 0-1 0 0,0 1 1 0 0,0-1 0 0 0,0 0 0 0 0,0 0 0 0 0,0 0-1 0 0,-1 0 1 0 0,1 0 0 0 0,0 0 0 0 0,0 0 0 0 0,0 0-1 0 0,0 0 1 0 0,0 0 0 0 0,0 0 0 0 0,0 1 0 0 0,0-1-1 0 0,0 0 1 0 0,0 0 0 0 0,0 0 0 0 0,0 0 0 0 0,0 0-1 0 0,0 0 1 0 0,-1 0 0 0 0,1 0 0 0 0,0 0 0 0 0,0 0-1 0 0,0 0 1 0 0,0 0 0 0 0,0 0 0 0 0,0 0 0 0 0,0 0-1 0 0,0 0 1 0 0,0 0 0 0 0,-1 0 0 0 0,1 0 0 0 0,0 0-1 0 0,0 0 1 0 0,0 0 0 0 0,0 0 0 0 0,0 8-1 0 0,1 1 0 0 0,0-1 1 0 0,1 1-1 0 0,0-1 0 0 0,0 0 0 0 0,6 14 1 0 0,27 49-42 0 0,-24-49 51 0 0,99 195 44 0 0,100 288 0 0 0,-203-480-62 0 0,-5-18 5 0 0,0 1-1 0 0,0-1 1 0 0,1-1-1 0 0,4 8 1 0 0,-6-12-15 0 0,-1-7 29 0 0,0 3-8 0 0,0-8 6 0 0,0-1-1 0 0,-1 1 0 0 0,0 0 0 0 0,-5-19 0 0 0,-53-119-301 0 0,22 64-109 0 0,14 22 105 0 0,12 30 138 0 0,-30-58 1 0 0,31 78 190 0 0,7 15 10 0 0,2 10 25 0 0,1 877 168 0 0,3-1342-360 0 0,-2 443 133 0 0,-3-29 8 0 0,2 37-18 0 0,0 0 1 0 0,0 0-1 0 0,0 0 1 0 0,-1 0-1 0 0,1 1 1 0 0,0-1-1 0 0,0 0 1 0 0,-1 0-1 0 0,1 0 0 0 0,-1 0 1 0 0,1 1-1 0 0,-1-1 1 0 0,1 0-1 0 0,-1 0 1 0 0,1 1-1 0 0,-1-1 1 0 0,1 0-1 0 0,-1 1 1 0 0,0-1-1 0 0,0 0 1 0 0,1 1-1 0 0,-1-1 1 0 0,0 1-1 0 0,0 0 1 0 0,1-1-1 0 0,-1 1 1 0 0,0-1-1 0 0,0 1 1 0 0,0 0-1 0 0,0 0 1 0 0,-1-1-1 0 0,0 1 2 0 0,1 1 1 0 0,0-1-1 0 0,0 0 0 0 0,0 0 1 0 0,0 0-1 0 0,0 1 1 0 0,0-1-1 0 0,0 0 0 0 0,0 1 1 0 0,0-1-1 0 0,0 1 0 0 0,0-1 1 0 0,0 1-1 0 0,0 0 0 0 0,0-1 1 0 0,1 1-1 0 0,-1 0 0 0 0,0 0 1 0 0,0-1-1 0 0,0 2 0 0 0,-11 22-4 0 0,7-13-2 0 0,-54 105-85 0 0,-19 38 66 0 0,61-117 9 0 0,4-12 5 0 0,1 1-1 0 0,1 1 1 0 0,-13 54 0 0 0,24-81 8 0 0,0 0 0 0 0,0 0 0 0 0,0-1 0 0 0,0 1 0 0 0,0 0 0 0 0,1 0 0 0 0,-1 0 0 0 0,0 0 0 0 0,0 0 0 0 0,0 0 0 0 0,1 0 0 0 0,-1 0 0 0 0,0 0 0 0 0,0 0 0 0 0,0 0 0 0 0,0 0 0 0 0,1 0 0 0 0,-1 0 0 0 0,0 0 0 0 0,0 0 0 0 0,0 0 0 0 0,0 0 0 0 0,1 0 0 0 0,-1 0 0 0 0,0 0 0 0 0,0 1 1 0 0,0-1-1 0 0,0 0 0 0 0,1 0 0 0 0,-1 0 0 0 0,0 0 0 0 0,0 0 0 0 0,0 0 0 0 0,0 0 0 0 0,0 1 0 0 0,0-1 0 0 0,1 0 0 0 0,-1 0 0 0 0,0 0 0 0 0,0 0 0 0 0,0 0 0 0 0,0 1 0 0 0,0-1 0 0 0,0 0 0 0 0,0 0 0 0 0,0 0 0 0 0,0 1 0 0 0,0-1 0 0 0,0 0 0 0 0,0 0 0 0 0,0 0 0 0 0,0 0 0 0 0,0 1 0 0 0,0-1 0 0 0,0 0 0 0 0,0 0 0 0 0,0 0 0 0 0,16-16-37 0 0,-13 12 26 0 0,211-275 21 0 0,-105 129 81 0 0,-78 106-93 0 0,-29 41 25 0 0,-2 6-1 0 0,-1 0-19 0 0,1 0-1 0 0,0 0 1 0 0,-1 0 0 0 0,0 0 0 0 0,0-1-1 0 0,0 1 1 0 0,0 0 0 0 0,0-1 0 0 0,0 1-1 0 0,-1-1 1 0 0,-1 4 0 0 0,-25 28-24 0 0,8-10 7 0 0,-94 117 1 0 0,6-9-12 0 0,106-128 18 0 0,-3 2 32 0 0,5-15-43 0 0,5-4 11 0 0,0 0 0 0 0,1 1 0 0 0,0-1 0 0 0,1 1 0 0 0,10-15 0 0 0,11-19 16 0 0,-5 6 2 0 0,50-101-10 0 0,-62 118-64 0 0,-2 0 1 0 0,-1-1 0 0 0,0 0 0 0 0,4-31 0 0 0,-12 55 63 0 0,0 0 1 0 0,0 0-1 0 0,0 0 1 0 0,0 0 0 0 0,0 0-1 0 0,0 0 1 0 0,-1 0-1 0 0,1 0 1 0 0,0 0 0 0 0,0 0-1 0 0,0 0 1 0 0,0 1 0 0 0,0-1-1 0 0,0 0 1 0 0,0 0-1 0 0,0 0 1 0 0,-1 0 0 0 0,1 0-1 0 0,0 0 1 0 0,0 0 0 0 0,0 0-1 0 0,0 0 1 0 0,0 0-1 0 0,0 0 1 0 0,0 0 0 0 0,0 0-1 0 0,-1 0 1 0 0,1 0-1 0 0,0 0 1 0 0,0 0 0 0 0,0 0-1 0 0,0 0 1 0 0,0 0 0 0 0,0-1-1 0 0,0 1 1 0 0,0 0-1 0 0,-1 0 1 0 0,1 0 0 0 0,0 0-1 0 0,0 0 1 0 0,0 0 0 0 0,0 0-1 0 0,0 0 1 0 0,0 0-1 0 0,0 0 1 0 0,0 0 0 0 0,0-1-1 0 0,0 1 1 0 0,0 0-1 0 0,0 0 1 0 0,0 0 0 0 0,0 0-1 0 0,-1 0 1 0 0,1 0 0 0 0,0 0-1 0 0,0 0 1 0 0,0-1-1 0 0,0 1 1 0 0,0 0 0 0 0,0 0-1 0 0,0 0 1 0 0,0 0 0 0 0,-11 10 24 0 0,8-6-17 0 0,-285 294-131 0 0,155-157 125 0 0,108-115-2 0 0,24-29-29 0 0,1 0 21 0 0,1-1 1 0 0,-1 1-1 0 0,1 0 0 0 0,0-1 1 0 0,0 1-1 0 0,0 0 0 0 0,1-1 1 0 0,-1 1-1 0 0,1 0 0 0 0,-1 0 1 0 0,4-4-1 0 0,30-35-3 0 0,-11 14-14 0 0,65-94 52 0 0,57-70 18 0 0,-139 184-42 0 0,-6 7 23 0 0,-1 4-18 0 0,-1-1-3 0 0,1 1-1 0 0,-1-1 0 0 0,1 1 0 0 0,-1-1 1 0 0,0 1-1 0 0,0-1 0 0 0,0 0 0 0 0,0 0 0 0 0,0 1 1 0 0,-1-1-1 0 0,1 0 0 0 0,-1 0 0 0 0,-2 3 0 0 0,-30 27-25 0 0,19-18 7 0 0,-32 30-5 0 0,-117 111-2 0 0,-10-16 69 0 0,157-128-42 0 0,15-11-7 0 0,3-4-9 0 0,-1 2 7 0 0,4-7 1 0 0,-1 0-1 0 0,1 1 0 0 0,1-1 0 0 0,-1 1 0 0 0,1 0 0 0 0,9-10 0 0 0,45-48-8 0 0,-27 31 18 0 0,-18 19-10 0 0,22-24 17 0 0,39-58-1 0 0,-65 80-22 0 0,-7 12 29 0 0,-6 9 68 0 0,-17 19-115 0 0,-1-2-1 0 0,-43 33 0 0 0,14-12 42 0 0,-39 35-19 0 0,-226 190 210 0 0,-12-18 0 0 0,167-142-148 0 0,117-80-81 0 0,-81 35-1 0 0,119-58 29 0 0,0-1 1 0 0,0 0-1 0 0,1-1 0 0 0,-1 1 0 0 0,0-1 0 0 0,-1 0 0 0 0,1 0 0 0 0,0 0 0 0 0,0-1 1 0 0,-6 0-1 0 0,11 0-4 0 0,0 0 1 0 0,-1 0-1 0 0,1 0 0 0 0,0 0 1 0 0,-1-1-1 0 0,1 1 1 0 0,0 0-1 0 0,0 0 1 0 0,-1-1-1 0 0,1 1 0 0 0,0 0 1 0 0,0 0-1 0 0,0-1 1 0 0,-1 1-1 0 0,1 0 1 0 0,0 0-1 0 0,0-1 1 0 0,0 1-1 0 0,0 0 0 0 0,0-1 1 0 0,0 1-1 0 0,-1 0 1 0 0,1-1-1 0 0,0 1 1 0 0,0 0-1 0 0,0-1 0 0 0,0 1 1 0 0,0 0-1 0 0,0-1 1 0 0,0 1-1 0 0,0 0 1 0 0,1-1-1 0 0,-1 1 0 0 0,0 0 1 0 0,0-1-1 0 0,0 1 1 0 0,1-9-11 0 0,0 0 0 0 0,0 0 0 0 0,1 0 1 0 0,0 0-1 0 0,1 1 0 0 0,0-1 0 0 0,0 1 0 0 0,0 0 0 0 0,1 0 1 0 0,1 0-1 0 0,5-8 0 0 0,12-14-19 0 0,36-40-1 0 0,-42 52 33 0 0,245-245 64 0 0,-122 130-190 0 0,-133 127 81 0 0,-5 5-1 0 0,-2 3 14 0 0,0 0 27 0 0,-1 1 1 0 0,0-1 0 0 0,1 0-1 0 0,-1 0 1 0 0,0 0 0 0 0,0 0 0 0 0,0 0-1 0 0,-1-1 1 0 0,1 1 0 0 0,-4 1-1 0 0,-9 7-2 0 0,-338 280-39 0 0,323-262 8 0 0,27-25 21 0 0,4-3-2 0 0,17-16-15 0 0,119-90 24 0 0,-52 43 51 0 0,30-30-16 0 0,60-44-74 0 0,-158 125-16 0 0,-16 12 70 0 0,-1 1-21 0 0,-1 2 12 0 0,0 0 0 0 0,0 0 0 0 0,-1 0 0 0 0,1 0 0 0 0,-1 0 0 0 0,0 0 0 0 0,0-1 0 0 0,0 1 0 0 0,0-1 0 0 0,0 1 0 0 0,-3 1 0 0 0,-3 6 0 0 0,-62 71 3 0 0,60-74 73 0 0,-8 2 11 0 0,-71 40-42 0 0,-189 94-54 0 0,277-143 10 0 0,-10 5-5 0 0,-1 0 1 0 0,0 0 0 0 0,0-1 0 0 0,0-1 0 0 0,-1 0 0 0 0,-19 2 0 0 0,31-6 2 0 0,1 1 0 0 0,-1 0 0 0 0,1-1 0 0 0,0 1 0 0 0,-1 0 0 0 0,1-1 0 0 0,0 1 0 0 0,-1-1 0 0 0,1 1 0 0 0,0-1 1 0 0,0 1-1 0 0,0-1 0 0 0,-1 1 0 0 0,1-1 0 0 0,0 1 0 0 0,0-1 0 0 0,0 1 0 0 0,0-1 0 0 0,0 1 0 0 0,0-1 0 0 0,0 1 0 0 0,0-1 0 0 0,0 1 0 0 0,0-1 0 0 0,0 1 0 0 0,0-1 1 0 0,0 0-1 0 0,2-18-131 0 0,0 13 94 0 0,0 0-1 0 0,0 0 1 0 0,1 1-1 0 0,-1-1 0 0 0,1 0 1 0 0,0 1-1 0 0,1-1 1 0 0,-1 1-1 0 0,6-6 1 0 0,8-7-14 0 0,20-17 0 0 0,-14 13 10 0 0,60-49 2 0 0,-65 56 13 0 0,-17 14 9 0 0,-11 3 72 0 0,-26 13-59 0 0,0 1-1 0 0,-54 34 1 0 0,71-39 4 0 0,-340 198-81 0 0,351-203 84 0 0,-18 5-55 0 0,45-29-747 0 0,106-62 366 0 0,-1 2 134 0 0,-105 65 240 0 0,-15 10 55 0 0,0 1 0 0 0,0 0 0 0 0,0-1 0 0 0,-1 1 0 0 0,1-1 0 0 0,-1 0 0 0 0,0-1 0 0 0,0 1 0 0 0,0 0 0 0 0,0-1 0 0 0,-1 1 0 0 0,1-1 0 0 0,-1 0 0 0 0,0 0 0 0 0,2-5 0 0 0,4-8 144 0 0,-6 14-118 0 0,-1 0 1 0 0,1 0-1 0 0,-1 0 1 0 0,0 0-1 0 0,0 0 0 0 0,0 0 1 0 0,1-7 173 0 0,-8 12 240 0 0,-10 2-215 0 0,0 0 0 0 0,0 2 0 0 0,-23 11 0 0 0,-51 30-213 0 0,41-20 3 0 0,-117 62-50 0 0,-424 213 261 0 0,569-292-216 0 0,10-4-48 0 0,-1-1 0 0 0,0 0 0 0 0,0 0-1 0 0,-1-1 1 0 0,-24 4 0 0 0,35-8 47 0 0,4-5-25 0 0,5-4-27 0 0,0 0 0 0 0,1 0-1 0 0,0 0 1 0 0,1 1 0 0 0,0 1 0 0 0,15-12-1 0 0,-10 9 16 0 0,182-133 33 0 0,300-166 0 0 0,-396 257-87 0 0,-87 43-7 0 0,-15 9 96 0 0,1 0 0 0 0,0-1 1 0 0,0 1-1 0 0,0 0 0 0 0,-1 0 0 0 0,1 0 1 0 0,0 0-1 0 0,0 0 0 0 0,-1 0 0 0 0,1 0 0 0 0,0 1 1 0 0,0-1-1 0 0,-2 1 0 0 0,-35 6 28 0 0,1 2-1 0 0,-39 15 1 0 0,-80 37 8 0 0,131-51 8 0 0,-795 367 585 0 0,818-376-630 0 0,-14 6 22 0 0,15-7-16 0 0,3-2-4 0 0,25-16-44 0 0,-19 12 14 0 0,598-345-138 0 0,-190 146 185 0 0,-380 190-187 0 0,-30 11 81 0 0,-14 4-7 0 0,-50 16 127 0 0,-61 24 1 0 0,-61 34-79 0 0,142-57 49 0 0,-260 129-793 0 0,258-124-1413 0 0</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19.721"/>
    </inkml:context>
    <inkml:brush xml:id="br0">
      <inkml:brushProperty name="width" value="0.35" units="cm"/>
      <inkml:brushProperty name="height" value="0.35" units="cm"/>
    </inkml:brush>
  </inkml:definitions>
  <inkml:trace contextRef="#ctx0" brushRef="#br0">3701 637 7828 0 0,'-2'7'3236'0'0,"-1"-4"-3037"0"0,-1 0 0 0 0,1 0 0 0 0,0 0 0 0 0,-1 0 1 0 0,1-1-1 0 0,-7 4 0 0 0,-3 3-126 0 0,-276 204 1225 0 0,44-30-214 0 0,-245 139 248 0 0,474-312-1272 0 0,12-7-36 0 0,-1 0 0 0 0,0 0 0 0 0,0 0 0 0 0,0 0 1 0 0,-1-1-1 0 0,1 0 0 0 0,-1 0 0 0 0,1 0 0 0 0,-10 1 0 0 0,14-7 6 0 0,1-28-262 0 0,7-167 333 0 0,-2 163-106 0 0,10-138 15 0 0,-15 173-10 0 0,0 1-1 0 0,1 0 0 0 0,-1-1 1 0 0,0 1-1 0 0,0-1 1 0 0,0 1-1 0 0,0 0 1 0 0,0-1-1 0 0,0 1 0 0 0,0 0 1 0 0,0-1-1 0 0,0 1 1 0 0,0-1-1 0 0,-1 1 0 0 0,1 0 1 0 0,0-1-1 0 0,0 1 1 0 0,0 0-1 0 0,0-1 0 0 0,0 1 1 0 0,-1 0-1 0 0,1-1 1 0 0,0 1-1 0 0,0 0 1 0 0,-1-1-1 0 0,1 1 0 0 0,0 0 1 0 0,0 0-1 0 0,-1-1 1 0 0,1 1-1 0 0,0 0 0 0 0,-1 0 1 0 0,1 0-1 0 0,0-1 1 0 0,-1 1-1 0 0,1 0 1 0 0,-1 0-1 0 0,1 0 0 0 0,0 0 1 0 0,-1 0-1 0 0,-2-1-7 0 0,-1 1 0 0 0,1 0 0 0 0,0 0 0 0 0,-1 0-1 0 0,1 1 1 0 0,0-1 0 0 0,0 1 0 0 0,-1-1 0 0 0,1 1 0 0 0,0 0-1 0 0,0 1 1 0 0,-5 1 0 0 0,-42 27-112 0 0,45-27 111 0 0,-396 280 5 0 0,-41 26 377 0 0,434-304-360 0 0,-63 37 103 0 0,62-38-83 0 0,1 0 0 0 0,-1 0-1 0 0,0-1 1 0 0,0-1-1 0 0,0 1 1 0 0,-13 0-1 0 0,21-2-22 0 0,1-1-1 0 0,-1 0 1 0 0,0 0-1 0 0,1 0 1 0 0,-1 0-1 0 0,0 0 0 0 0,1 0 1 0 0,-1 0-1 0 0,0 0 1 0 0,0 0-1 0 0,1 0 1 0 0,-1 0-1 0 0,0-1 1 0 0,1 1-1 0 0,-1 0 1 0 0,0 0-1 0 0,1-1 1 0 0,-1 1-1 0 0,1 0 1 0 0,-1-1-1 0 0,0 1 1 0 0,1-1-1 0 0,-1 1 1 0 0,1-1-1 0 0,-1 1 1 0 0,1-1-1 0 0,-1 1 1 0 0,1-1-1 0 0,-1 0 1 0 0,1-1-5 0 0,-1 0 0 0 0,1 0 0 0 0,-1-1 1 0 0,1 1-1 0 0,0 0 0 0 0,0 0 0 0 0,0-5 1 0 0,1-2-18 0 0,-1-9-26 0 0,2-1-1 0 0,0 1 1 0 0,0 0 0 0 0,2 0 0 0 0,1 0-1 0 0,0 1 1 0 0,1-1 0 0 0,15-30 0 0 0,25-44 45 0 0,-14 29 59 0 0,-3 0 0 0 0,29-89 0 0 0,-54 132 14 0 0,-7 21-155 0 0,-17 9 111 0 0,1 2 0 0 0,0 0 0 0 0,-21 18 0 0 0,2-1-25 0 0,-9 5 48 0 0,-2-2 0 0 0,-101 50-1 0 0,150-82-58 0 0,-9 4 12 0 0,-1 0 0 0 0,1-1 0 0 0,-15 3 0 0 0,22-5-4 0 0,0-1 0 0 0,0 1 0 0 0,0-1 1 0 0,0 0-1 0 0,0 0 0 0 0,0 0 0 0 0,0 0 1 0 0,0 0-1 0 0,0 0 0 0 0,0-1 0 0 0,0 1 1 0 0,0-1-1 0 0,0 1 0 0 0,0-1 0 0 0,0 0 0 0 0,1 1 1 0 0,-1-1-1 0 0,0 0 0 0 0,0 0 0 0 0,1-1 1 0 0,-1 1-1 0 0,1 0 0 0 0,-1 0 0 0 0,1-1 1 0 0,-2-1-1 0 0,-5-11-48 0 0,0-1 1 0 0,2 0-1 0 0,-10-30 1 0 0,2 4 119 0 0,-31-69 31 0 0,35 88-95 0 0,-1 1-1 0 0,-1 1 1 0 0,-15-20 0 0 0,24 35-20 0 0,-1 1 1 0 0,0 0 0 0 0,0 0-1 0 0,0 1 1 0 0,0-1 0 0 0,0 1-1 0 0,-1-1 1 0 0,0 1-1 0 0,1 1 1 0 0,-1-1 0 0 0,0 1-1 0 0,-1 0 1 0 0,1 0 0 0 0,0 0-1 0 0,0 1 1 0 0,-1 0-1 0 0,-7-1 1 0 0,6 1-2 0 0,0 1 0 0 0,0 1 0 0 0,-1-1 0 0 0,1 1 0 0 0,0 0 0 0 0,0 1 0 0 0,0 0 0 0 0,0 0 0 0 0,0 0 0 0 0,0 1 0 0 0,1 0 0 0 0,-11 6 0 0 0,-6 6 2 0 0,2 1 0 0 0,-36 34 0 0 0,-33 43 1 0 0,76-77 5 0 0,-44 49-3 0 0,-40 42 22 0 0,84-95-17 0 0,13-21-296 0 0,1 3 227 0 0,0-44-3 0 0,8-57 1 0 0,-1 30 239 0 0,-4-99-1 0 0,-4 115-165 0 0,1 59-8 0 0,0 1 0 0 0,1 0 0 0 0,-1 0 0 0 0,-1 0 0 0 0,1-1 0 0 0,0 1 0 0 0,0 0 0 0 0,0 0 0 0 0,-1 0 1 0 0,1-1-1 0 0,0 1 0 0 0,-1 0 0 0 0,1 0 0 0 0,-1 0 0 0 0,0 0 0 0 0,1 0 0 0 0,-1 0 0 0 0,-1-1 0 0 0,1 1-4 0 0,0 1-1 0 0,0-1 1 0 0,-1 0-1 0 0,1 1 1 0 0,0-1 0 0 0,-1 1-1 0 0,1 0 1 0 0,-1 0 0 0 0,1-1-1 0 0,0 1 1 0 0,-1 0-1 0 0,1 0 1 0 0,-1 0 0 0 0,1 0-1 0 0,-3 1 1 0 0,2-1 11 0 0,-1 1 1 0 0,1 0-1 0 0,-1-1 0 0 0,1 1 1 0 0,0 0-1 0 0,-1 0 0 0 0,1 0 1 0 0,0 1-1 0 0,0-1 0 0 0,0 0 1 0 0,0 1-1 0 0,0-1 0 0 0,-2 3 1 0 0,-22 27 49 0 0,15-17-54 0 0,-28 38 66 0 0,-37 62 0 0 0,76-113-63 0 0,0-4-104 0 0,17-224 70 0 0,-12 182 34 0 0,0-93 69 0 0,-5 110-60 0 0,0 17 2 0 0,-1 0 1 0 0,1 1-1 0 0,-4-12 0 0 0,4 20-15 0 0,0 0 0 0 0,-1 0 0 0 0,1 0 0 0 0,-1 0 0 0 0,0 0 1 0 0,1 0-1 0 0,-1 0 0 0 0,0 0 0 0 0,0 0 0 0 0,0 0 0 0 0,-1 0 0 0 0,1 1 1 0 0,0-1-1 0 0,-1 1 0 0 0,1-1 0 0 0,-1 1 0 0 0,1-1 0 0 0,-1 1 1 0 0,0 0-1 0 0,1 0 0 0 0,-1-1 0 0 0,-2 0 0 0 0,3 2-8 0 0,0 0 0 0 0,0 0 0 0 0,0 0 0 0 0,0 0 0 0 0,0 1-1 0 0,0-1 1 0 0,0 0 0 0 0,0 0 0 0 0,0 1 0 0 0,0-1 0 0 0,1 0 0 0 0,-1 1 0 0 0,0-1 0 0 0,0 1-1 0 0,0-1 1 0 0,0 1 0 0 0,1-1 0 0 0,-1 1 0 0 0,0 0 0 0 0,1-1 0 0 0,-1 1 0 0 0,0 0-1 0 0,1-1 1 0 0,-1 1 0 0 0,1 0 0 0 0,-1 0 0 0 0,1 0 0 0 0,0-1 0 0 0,-1 1 0 0 0,1 0 0 0 0,-1 1-1 0 0,0 1-1 0 0,-24 47 19 0 0,3 2 1 0 0,1 0 0 0 0,-14 63-1 0 0,32-106-29 0 0,1 0 0 0 0,1 0 0 0 0,0 0 0 0 0,0 0 0 0 0,1 15 0 0 0,3-39-603 0 0,27-49 639 0 0,-20 47 54 0 0,-2 0 0 0 0,0 0 0 0 0,-1-1 1 0 0,0 0-1 0 0,-2 0 0 0 0,0-1 1 0 0,2-19-1 0 0,-5 0 41 0 0,-4-56 0 0 0,2 91-104 0 0,-1-1 0 0 0,0 1 0 0 0,0 0-1 0 0,0 0 1 0 0,0-1 0 0 0,-1 1 0 0 0,1 0 0 0 0,-1 0 0 0 0,0 1 0 0 0,-3-5-1 0 0,4 6-11 0 0,1 0 0 0 0,-1 0-1 0 0,1 1 1 0 0,-1-1-1 0 0,1 0 1 0 0,-1 1 0 0 0,0-1-1 0 0,0 1 1 0 0,1-1-1 0 0,-1 1 1 0 0,0-1 0 0 0,0 1-1 0 0,1-1 1 0 0,-1 1 0 0 0,0 0-1 0 0,0-1 1 0 0,0 1-1 0 0,0 0 1 0 0,0 0 0 0 0,1-1-1 0 0,-1 1 1 0 0,0 0-1 0 0,0 0 1 0 0,0 0 0 0 0,0 0-1 0 0,0 0 1 0 0,0 1-1 0 0,0-1 1 0 0,1 0 0 0 0,-1 0-1 0 0,0 1 1 0 0,0-1 0 0 0,0 0-1 0 0,0 1 1 0 0,1-1-1 0 0,-1 0 1 0 0,0 1 0 0 0,0 0-1 0 0,1-1 1 0 0,-1 1-1 0 0,0-1 1 0 0,1 1 0 0 0,-1 0-1 0 0,0-1 1 0 0,1 1-1 0 0,-1 1 1 0 0,-13 18 86 0 0,1 1 0 0 0,-20 42-1 0 0,28-49-77 0 0,6-28-338 0 0,0 2 359 0 0,0 0 0 0 0,1 0 0 0 0,0 0 0 0 0,8-22 0 0 0,-6 22 40 0 0,0 0 0 0 0,-1 0 0 0 0,-1 0 0 0 0,2-25 1 0 0,-4 21-333 0 0,0 134 277 0 0,1-118-116 0 0,0 0 86 0 0,0 0-1 0 0,0-1 0 0 0,0 1 0 0 0,0 0 1 0 0,0-1-1 0 0,0 1 0 0 0,0-1 0 0 0,0 1 1 0 0,0-1-1 0 0,0 0 0 0 0,0 1 0 0 0,-1-1 1 0 0,1 0-1 0 0,0 0 0 0 0,-1 1 0 0 0,1-1 1 0 0,0-1-1 0 0,12-20 93 0 0,-9 15-38 0 0,0-1 33 0 0,0-1 0 0 0,0 1 0 0 0,-1-1 0 0 0,-1 0 0 0 0,1 0 0 0 0,-1 0 0 0 0,-1 0 0 0 0,1-10 0 0 0,-2-77 144 0 0,-1 47-291 0 0,1 37 35 0 0,0 17-203 0 0,-2 18 74 0 0,-1-10 213 0 0,-1 0 1 0 0,-1-1 0 0 0,-9 18-1 0 0,-3 7-13 0 0,-62 189-12 0 0,68-184-12 0 0,2-1 0 0 0,2 1-1 0 0,-4 70 1 0 0,11 132-69 0 0,0-239 60 0 0,0 0-1 0 0,1-1 0 0 0,-1 1 1 0 0,1 0-1 0 0,0-1 0 0 0,1 1 0 0 0,-1-1 1 0 0,1 0-1 0 0,0 1 0 0 0,4 6 0 0 0,-5-9-11 0 0,0-1 0 0 0,0 0 0 0 0,0 1 0 0 0,0-1 0 0 0,0 0 0 0 0,0 0 1 0 0,0 0-1 0 0,1 0 0 0 0,-1 0 0 0 0,0 0 0 0 0,1 0 0 0 0,-1 0 0 0 0,1-1 0 0 0,-1 1 0 0 0,1 0 0 0 0,-1-1 0 0 0,1 1 0 0 0,-1-1 0 0 0,1 0 0 0 0,0 1 0 0 0,-1-1 0 0 0,1 0 0 0 0,-1 0 0 0 0,1 0 0 0 0,0 0 0 0 0,-1 0 0 0 0,1-1 0 0 0,0 1 0 0 0,-1 0 0 0 0,1-1 0 0 0,-1 1 0 0 0,1-1 0 0 0,-1 0 0 0 0,3-1 0 0 0,3-2-24 0 0,-1-1 1 0 0,0 0 0 0 0,0-1 0 0 0,0 1-1 0 0,-1-1 1 0 0,1 0 0 0 0,7-13-1 0 0,6-5 64 0 0,4-8 219 0 0,-15 21-122 0 0,1 0 1 0 0,12-12-1 0 0,-21 22-125 0 0,0 1 0 0 0,1-1 0 0 0,-1 1 0 0 0,0-1 0 0 0,1 1 0 0 0,-1-1 0 0 0,1 1 0 0 0,-1 0 0 0 0,1-1 0 0 0,-1 1 0 0 0,1 0 0 0 0,-1-1 0 0 0,1 1 0 0 0,0 0 0 0 0,-1 0 0 0 0,1-1 0 0 0,-1 1 0 0 0,1 0 0 0 0,0 0 0 0 0,-1 0 0 0 0,1 0 0 0 0,-1 0 0 0 0,1 0 0 0 0,0 0 0 0 0,-1 0 0 0 0,1 0 0 0 0,0 0 0 0 0,0 0 0 0 0,0 1-11 0 0,0 0-1 0 0,-1 0 0 0 0,1 0 0 0 0,0 0 0 0 0,-1 1 0 0 0,1-1 0 0 0,-1 0 1 0 0,1 0-1 0 0,-1 0 0 0 0,1 0 0 0 0,-1 1 0 0 0,0-1 0 0 0,1 0 1 0 0,-1 2-1 0 0,19 122 76 0 0,-5 0 0 0 0,-5 1 1 0 0,-10 147-1 0 0,-2-234-23 0 0,-2 0 0 0 0,-11 43 0 0 0,-27 76 93 0 0,22-88-9 0 0,22-104-510 0 0,4 1 442 0 0,18-62 1 0 0,-2 18 2 0 0,65-329 398 0 0,-82 388-436 0 0,-3 12-16 0 0,0-1 1 0 0,1 0 0 0 0,5-12 0 0 0,-7 19-5 0 0,0 0 1 0 0,0 0 0 0 0,0 0-1 0 0,0 0 1 0 0,0 0-1 0 0,0-1 1 0 0,0 1 0 0 0,0 0-1 0 0,0 0 1 0 0,0 0-1 0 0,0 0 1 0 0,0 0 0 0 0,0 0-1 0 0,0 0 1 0 0,1 0-1 0 0,-1-1 1 0 0,0 1 0 0 0,0 0-1 0 0,0 0 1 0 0,0 0 0 0 0,0 0-1 0 0,0 0 1 0 0,0 0-1 0 0,1 0 1 0 0,-1 0 0 0 0,0 0-1 0 0,0 0 1 0 0,0 0-1 0 0,0 0 1 0 0,0 0 0 0 0,1 0-1 0 0,-1 0 1 0 0,0 0-1 0 0,0 0 1 0 0,0 0 0 0 0,0 0-1 0 0,0 0 1 0 0,0 0 0 0 0,1 0-1 0 0,-1 0 1 0 0,0 0-1 0 0,0 0 1 0 0,0 0 0 0 0,0 0-1 0 0,0 0 1 0 0,0 0-1 0 0,0 1 1 0 0,1-1 0 0 0,-1 0-1 0 0,0 0 1 0 0,0 0-1 0 0,0 0 1 0 0,0 0 0 0 0,0 0-1 0 0,0 0 1 0 0,0 0 0 0 0,0 1-1 0 0,0-1 1 0 0,0 0-1 0 0,0 0 1 0 0,0 0 0 0 0,1 0-1 0 0,3 13-177 0 0,5 39 150 0 0,2 60 0 0 0,-8-70 26 0 0,7 468 268 0 0,-13-451-214 0 0,-3 1 0 0 0,-25 104 0 0 0,-49 109-29 0 0,72-249-13 0 0,4-14-9 0 0,0 0-1 0 0,1 0 1 0 0,0 1 0 0 0,1-1 0 0 0,-2 21-1 0 0,5-39-90 0 0,1 1-1 0 0,-1 0 0 0 0,1 0 1 0 0,0 0-1 0 0,1 0 0 0 0,0 1 1 0 0,0-1-1 0 0,6-10 0 0 0,1-1 54 0 0,13-33 171 0 0,-2-2 0 0 0,-2-1 1 0 0,-3 0-1 0 0,16-95 1 0 0,10-227-44 0 0,-41 349-108 0 0,-1 24-92 0 0,0 13-98 0 0,0-2 97 0 0,0 38 94 0 0,-5 246 158 0 0,0-199-107 0 0,-21 110 1 0 0,-15-19-65 0 0,-8-2 0 0 0,-105 256 0 0 0,115-349 132 0 0,38-89-134 0 0,0-4-20 0 0,4-10-114 0 0,16-37-46 0 0,34-66 0 0 0,-17 42 296 0 0,100-249 111 0 0,72-150 99 0 0,-193 445-259 0 0,1 1 1 0 0,1 1 0 0 0,36-44-1 0 0,-49 66-48 0 0,1 0 0 0 0,0 1 0 0 0,11-8-1 0 0,-15 12 8 0 0,-1-1-1 0 0,1 1 1 0 0,0-1 0 0 0,-1 1-1 0 0,1-1 1 0 0,0 1-1 0 0,-1-1 1 0 0,1 1-1 0 0,0 0 1 0 0,0-1 0 0 0,0 1-1 0 0,-1 0 1 0 0,1 0-1 0 0,0-1 1 0 0,0 1 0 0 0,0 0-1 0 0,0 0 1 0 0,0 0-1 0 0,-1 0 1 0 0,1 0 0 0 0,0 0-1 0 0,0 1 1 0 0,0-1-1 0 0,0 0 1 0 0,-1 0-1 0 0,1 0 1 0 0,0 1 0 0 0,0-1-1 0 0,-1 1 1 0 0,1-1-1 0 0,0 0 1 0 0,0 1 0 0 0,-1-1-1 0 0,1 1 1 0 0,0 0-1 0 0,0 0 1 0 0,0 3-36 0 0,1 0-1 0 0,-1 1 1 0 0,0-1 0 0 0,-1 1-1 0 0,1-1 1 0 0,-1 1-1 0 0,0 7 1 0 0,0 17 97 0 0,-2 0-1 0 0,-1 0 0 0 0,-2 0 1 0 0,0 0-1 0 0,-19 53 1 0 0,-67 139 37 0 0,-118 182-71 0 0,176-344-18 0 0,-132 224 53 0 0,-14 26 65 0 0,158-268-102 0 0,22-42-31 0 0,10-25-308 0 0,15-25-1 0 0,291-542 749 0 0,-244 444-359 0 0,82-161 68 0 0,15 10 34 0 0,-164 290-162 0 0,147-219 17 0 0,-143 216-35 0 0,1 0-1 0 0,23-21 1 0 0,-32 32 0 0 0,0 0 0 0 0,0 0 0 0 0,0 1 0 0 0,1-1 0 0 0,-1 0 0 0 0,1 1 0 0 0,-1 0 1 0 0,5-2-1 0 0,-7 3 7 0 0,1 0 0 0 0,-1 0 0 0 0,0 0 0 0 0,0 0 0 0 0,1 0 0 0 0,-1 0 0 0 0,0 0 0 0 0,1 0 0 0 0,-1 0 1 0 0,0 0-1 0 0,0 0 0 0 0,1 0 0 0 0,-1 1 0 0 0,0-1 0 0 0,0 0 0 0 0,1 0 0 0 0,-1 0 0 0 0,0 0 0 0 0,0 1 0 0 0,1-1 1 0 0,-1 0-1 0 0,0 0 0 0 0,0 0 0 0 0,0 1 0 0 0,0-1 0 0 0,1 0 0 0 0,-1 0 0 0 0,0 1 0 0 0,0-1 0 0 0,3 19-236 0 0,-4-1 266 0 0,-1 0 0 0 0,0 0 0 0 0,-1 0 0 0 0,-1 0 0 0 0,-10 27 0 0 0,-42 89 255 0 0,48-117-281 0 0,-441 869 185 0 0,366-729-152 0 0,-141 254 70 0 0,192-350-65 0 0,29-55-73 0 0,5-8-23 0 0,9-17-99 0 0,23-35-117 0 0,-22 35 273 0 0,384-584 382 0 0,-34 56-110 0 0,-248 390-151 0 0,183-193-1 0 0,-282 335-119 0 0,1-3-29 0 0,1 0-1 0 0,1 2 1 0 0,37-28 0 0 0,-44 40-60 0 0,-11 4 85 0 0,0 0 0 0 0,1 0 1 0 0,-1 0-1 0 0,0 0 1 0 0,0 1-1 0 0,1-1 0 0 0,-1 0 1 0 0,0 0-1 0 0,0 0 0 0 0,1 0 1 0 0,-1 0-1 0 0,0 0 1 0 0,0 1-1 0 0,0-1 0 0 0,1 0 1 0 0,-1 0-1 0 0,0 0 0 0 0,0 1 1 0 0,0-1-1 0 0,1 0 1 0 0,-1 0-1 0 0,0 1 0 0 0,0-1 1 0 0,0 0-1 0 0,0 0 0 0 0,0 1 1 0 0,0-1-1 0 0,0 0 1 0 0,1 3-19 0 0,-1 0 0 0 0,0 0 0 0 0,1 0 0 0 0,-2 0 0 0 0,1 0 0 0 0,0 0 0 0 0,0 0 0 0 0,-1 0 0 0 0,0 0 1 0 0,1 0-1 0 0,-3 4 0 0 0,-9 20 84 0 0,-1-1-1 0 0,-1-1 1 0 0,-2 0 0 0 0,-23 29 0 0 0,22-30-34 0 0,-503 681 142 0 0,249-343-229 0 0,-215 287 153 0 0,444-591-61 0 0,37-54-60 0 0,6-9-16 0 0,14-22-129 0 0,57-63-318 0 0,42-43 443 0 0,30-39 227 0 0,118-141-30 0 0,430-533 110 0 0,-152 169-270 0 0,-485 613-39 0 0,-54 63 43 0 0,-1 0 0 0 0,1 0 0 0 0,0 0 0 0 0,0 0 0 0 0,0 0 0 0 0,-1 0 0 0 0,1 1 0 0 0,0-1 0 0 0,0 0 0 0 0,1 0 0 0 0,-1 1 0 0 0,0-1-1 0 0,0 0 1 0 0,0 1 0 0 0,0-1 0 0 0,0 1 0 0 0,1 0 0 0 0,-1-1 0 0 0,2 1 0 0 0,-3 2-2 0 0,0-1 0 0 0,0 1-1 0 0,0-1 1 0 0,0 1 0 0 0,0-1-1 0 0,0 1 1 0 0,0 0 0 0 0,0-1-1 0 0,-1 1 1 0 0,1-1 0 0 0,-1 1-1 0 0,1-1 1 0 0,-1 1 0 0 0,1-1-1 0 0,-1 1 1 0 0,-1 1 0 0 0,-11 23 162 0 0,-21 35 1 0 0,-56 70 91 0 0,-39 35-133 0 0,-35 38 3 0 0,-370 436-43 0 0,-252 321-182 0 0,759-927 127 0 0,16-20-1 0 0,1-1 0 0 0,0 2 0 0 0,0 0 0 0 0,-12 27-1 0 0,21-37-51 0 0,10-14-88 0 0,54-51-311 0 0,331-330 404 0 0,981-1079 524 0 0,-1356 1449-512 0 0,40-46-74 0 0,72-58 0 0 0,-124 119 51 0 0,-3 10-42 0 0,-4-2 69 0 0,0 0 1 0 0,0 0-1 0 0,0 0 0 0 0,-1 0 0 0 0,1 0 1 0 0,-1 0-1 0 0,0 0 0 0 0,1 0 0 0 0,-1 0 1 0 0,0-1-1 0 0,-1 1 0 0 0,-1 3 0 0 0,-10 18 113 0 0,-28 35-1 0 0,-253 314 312 0 0,245-314-365 0 0,-568 645 19 0 0,470-542-77 0 0,-46 53-19 0 0,29-32 52 0 0,43-45 21 0 0,115-131-32 0 0,-20 22 121 0 0,-41 62 1 0 0,65-89-108 0 0,3-2-7 0 0,12-13-76 0 0,74-62-291 0 0,52-50 344 0 0,43-38 171 0 0,887-857 236 0 0,-785 744-369 0 0,-100 101 2 0 0,-30 34-53 0 0,45-31-94 0 0,-161 141 59 0 0,-33 28-10 0 0,-6 9 1 0 0,-3 3 73 0 0,0 0 0 0 0,0-1 0 0 0,-1 1-1 0 0,0-1 1 0 0,0 0 0 0 0,-1 0 0 0 0,0 0-1 0 0,0-1 1 0 0,-1 0 0 0 0,-10 9 0 0 0,-14 15 37 0 0,-79 88 56 0 0,-35 31-34 0 0,-180 200 89 0 0,65-67-184 0 0,65-75 21 0 0,-601 621 67 0 0,689-719-150 0 0,182-177-377 0 0,-32 30 412 0 0,377-337 307 0 0,404-424-129 0 0,-483 477-65 0 0,19 27-55 0 0,-358 292-16 0 0,20-13 1 0 0,-15 13-52 0 0,-9 9-135 0 0,-11 12 238 0 0,0-1 0 0 0,-1-1 1 0 0,-1 0-1 0 0,0 0 0 0 0,-25 18 0 0 0,23-19-20 0 0,-449 441 165 0 0,18 16-205 0 0,282-296 55 0 0,-43 47 28 0 0,31-31-17 0 0,40-46-61 0 0,8-13 61 0 0,192-187-456 0 0,-19 17 249 0 0,98-86 151 0 0,568-536 258 0 0,-118 106-210 0 0,21 31-81 0 0,-588 505-34 0 0,-24 16 77 0 0,0 0 0 0 0,0 0 0 0 0,0 0 0 0 0,0 1 0 0 0,0-1 0 0 0,0 0 0 0 0,0 0-1 0 0,0 0 1 0 0,0 0 0 0 0,0 0 0 0 0,0 0 0 0 0,0 0 0 0 0,0 1 0 0 0,0-1 0 0 0,0 0 0 0 0,0 0-1 0 0,0 0 1 0 0,0 0 0 0 0,0 0 0 0 0,0 0 0 0 0,0 1 0 0 0,0-1 0 0 0,0 0 0 0 0,0 0 0 0 0,0 0-1 0 0,0 0 1 0 0,0 0 0 0 0,0 0 0 0 0,0 0 0 0 0,1 0 0 0 0,-1 1 0 0 0,0-1 0 0 0,0 0 0 0 0,0 0-1 0 0,0 0 1 0 0,0 0 0 0 0,0 0 0 0 0,0 0 0 0 0,0 0 0 0 0,1 0 0 0 0,-1 0 0 0 0,0 0 0 0 0,0 0-1 0 0,0 0 1 0 0,0 0 0 0 0,0 0 0 0 0,0 0 0 0 0,0 0 0 0 0,1 0 0 0 0,-1 0 0 0 0,0 0-1 0 0,0 0 1 0 0,0 0 0 0 0,0 0 0 0 0,0 0 0 0 0,0 0 0 0 0,1 0 0 0 0,-1 0 0 0 0,0 0 0 0 0,0 0-1 0 0,0 0 1 0 0,0 0 0 0 0,0 0 0 0 0,0 0 0 0 0,0 0 0 0 0,1-1 0 0 0,-6 9 30 0 0,1 0-1 0 0,-1 0 1 0 0,-8 8 0 0 0,-22 26 154 0 0,-53 47 1 0 0,29-31-151 0 0,-81 87 20 0 0,-875 972-18 0 0,594-645 232 0 0,387-436-230 0 0,30-34-74 0 0,8-9-23 0 0,52-59-195 0 0,63-59 274 0 0,39-37 31 0 0,727-712-103 0 0,-127 160-104 0 0,-618 574-198 0 0,-130 130 289 0 0,-10 10 65 0 0,0 0 0 0 0,0 0 0 0 0,0 0 0 0 0,0 0 0 0 0,0 0 1 0 0,0 0-1 0 0,0 0 0 0 0,0 0 0 0 0,0 0 0 0 0,0 0 0 0 0,0 0 0 0 0,0 0 1 0 0,0 0-1 0 0,0 1 0 0 0,0-1 0 0 0,0 0 0 0 0,0 0 0 0 0,0 0 0 0 0,0 0 1 0 0,0 0-1 0 0,0 0 0 0 0,0 0 0 0 0,0 0 0 0 0,0 0 0 0 0,0 0 0 0 0,0 0 1 0 0,0 0-1 0 0,0 0 0 0 0,0 0 0 0 0,0 0 0 0 0,0 1 0 0 0,0-1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1 0 0 0 0,-1 0 0 0 0,0 0 0 0 0,-15 24 10 0 0,-57 49 391 0 0,-379 345-112 0 0,-80 102-335 0 0,25 19 105 0 0,374-389-10 0 0,11-8-8 0 0,336-361-578 0 0,-145 151 537 0 0,484-449 65 0 0,37 45 48 0 0,-543 436-167 0 0,3 2 0 0 0,65-32 0 0 0,-112 64 19 0 0,1 0 1 0 0,-1 0-1 0 0,1 0 1 0 0,0 1 0 0 0,-1-1-1 0 0,11 0 1 0 0,-15 2 30 0 0,0 0-1 0 0,0 0 1 0 0,1 0 0 0 0,-1 0 0 0 0,0 0 0 0 0,0 0 0 0 0,0 0 0 0 0,1 0 0 0 0,-1 0 0 0 0,0 0 0 0 0,0 0-1 0 0,0 0 1 0 0,1 0 0 0 0,-1 0 0 0 0,0 0 0 0 0,0 0 0 0 0,0 1 0 0 0,0-1 0 0 0,1 0 0 0 0,-1 0 0 0 0,0 0-1 0 0,0 0 1 0 0,0 0 0 0 0,0 1 0 0 0,0-1 0 0 0,1 0 0 0 0,-1 0 0 0 0,0 0 0 0 0,0 0 0 0 0,0 1 0 0 0,0-1 0 0 0,0 0-1 0 0,0 0 1 0 0,0 1 0 0 0,-2 12-155 0 0,-1-4 148 0 0,0 0 0 0 0,-1 0 0 0 0,0-1 0 0 0,0 1 0 0 0,-1-1 1 0 0,0 0-1 0 0,-7 8 0 0 0,-54 56 106 0 0,65-70-93 0 0,-192 196 120 0 0,-241 251 271 0 0,17 8-180 0 0,413-453-208 0 0,-123 154 153 0 0,122-150-124 0 0,13-13-42 0 0,146-115-402 0 0,-110 82 363 0 0,144-117 90 0 0,931-803-154 0 0,-977 828-157 0 0,17-19-206 0 0,-143 131 438 0 0,-21 20 302 0 0,-30 25 402 0 0,33-26-650 0 0,-444 377 197 0 0,-353 381-241 0 0,777-738 33 0 0,-100 91 92 0 0,116-109-89 0 0,12-15-77 0 0,28-39-47 0 0,2 2 0 0 0,56-60 0 0 0,-81 96 122 0 0,343-416 7 0 0,-32-23-284 0 0,-138 135-448 0 0,-143 233-56 0 0,54-163 1 0 0,-84 207 482 0 0,-1 0 0 0 0,-2 0 0 0 0,-2-1 0 0 0,2-65 1 0 0,-7 99 284 0 0,-1 0 1 0 0,0 1 0 0 0,-1-1 0 0 0,1 0-1 0 0,-1 1 1 0 0,0-1 0 0 0,-1 1 0 0 0,-3-11 0 0 0,3 15 28 0 0,1-1 1 0 0,-1 1-1 0 0,0-1 1 0 0,0 1-1 0 0,0 0 1 0 0,0 0-1 0 0,0 0 1 0 0,-1 0 0 0 0,1 0-1 0 0,-1 0 1 0 0,1 1-1 0 0,-1-1 1 0 0,0 1-1 0 0,1 0 1 0 0,-1-1-1 0 0,0 1 1 0 0,0 0 0 0 0,0 1-1 0 0,-3-1 1 0 0,-9-2 150 0 0,0 2 0 0 0,0 0 0 0 0,0 1 1 0 0,0 0-1 0 0,0 2 0 0 0,0-1 0 0 0,0 2 0 0 0,0 0 1 0 0,-25 9-1 0 0,-3 4 14 0 0,1 1 0 0 0,0 3 1 0 0,-72 45-1 0 0,-105 91 350 0 0,163-110-471 0 0,53-43-81 0 0,12-9-178 0 0,79-61 52 0 0,113-110 0 0 0,-153 128 159 0 0,-2-3-1 0 0,-3-2 0 0 0,-2-1 0 0 0,-2-2 1 0 0,-3-2-1 0 0,53-117 0 0 0,-85 166-28 0 0,0-1 0 0 0,0 0 1 0 0,-1-1-1 0 0,0 1 0 0 0,-1 0 0 0 0,1-22 0 0 0,-2 33 9 0 0,-1-1 0 0 0,0 1 0 0 0,0 0 0 0 0,0 0 0 0 0,0-1 0 0 0,0 1 0 0 0,0 0 0 0 0,0 0 0 0 0,0-1 0 0 0,0 1 0 0 0,0 0 0 0 0,0 0 0 0 0,0-1 0 0 0,0 1 0 0 0,0 0 0 0 0,0 0 0 0 0,0-1 0 0 0,0 1 0 0 0,0 0 0 0 0,0 0 0 0 0,0-1 0 0 0,0 1 0 0 0,0 0 0 0 0,-1 0 0 0 0,1 0 0 0 0,0-1 0 0 0,0 1 0 0 0,0 0 0 0 0,0 0 0 0 0,-1 0 0 0 0,1-1 0 0 0,0 1 0 0 0,0 0 0 0 0,0 0 0 0 0,-1 0 0 0 0,1 0 0 0 0,0 0 0 0 0,0 0 0 0 0,0-1 0 0 0,-1 1 0 0 0,1 0 0 0 0,0 0 0 0 0,0 0 0 0 0,-1 0 0 0 0,1 0 0 0 0,0 0 0 0 0,0 0 0 0 0,-1 0 0 0 0,1 0 0 0 0,0 0 0 0 0,0 0 0 0 0,-1 0 0 0 0,1 0 0 0 0,0 0 0 0 0,0 0 0 0 0,-1 0 0 0 0,1 1 0 0 0,0-1 0 0 0,-7 1 8 0 0,1 1-1 0 0,0 0 0 0 0,1 0 1 0 0,-1 0-1 0 0,0 1 0 0 0,-10 6 0 0 0,-36 27 120 0 0,34-22-93 0 0,-289 218 52 0 0,-199 146 398 0 0,476-358-388 0 0,-10 10 66 0 0,194-163-614 0 0,-37 35 586 0 0,76-78-11 0 0,216-253-1 0 0,-393 410-111 0 0,-3 4 6 0 0,0 0 1 0 0,-1 0-1 0 0,18-33 0 0 0,-29 47-18 0 0,-1 0-1 0 0,1 0 1 0 0,-1 0 0 0 0,1 0 0 0 0,-1 0 0 0 0,1-1 0 0 0,-1 1 0 0 0,0 0-1 0 0,0 0 1 0 0,0 0 0 0 0,0-3 0 0 0,-5 3-65 0 0,-9 9-8 0 0,-308 231 279 0 0,219-162-182 0 0,-110 85 19 0 0,-307 225 135 0 0,498-374-128 0 0,17-12-41 0 0,12-12-68 0 0,36-32-208 0 0,56-46-1 0 0,-78 71 302 0 0,18-15 15 0 0,680-565 266 0 0,-703 587-316 0 0,-6 3-30 0 0,1 0 0 0 0,-2-1-1 0 0,16-16 1 0 0,-25 25 32 0 0,0 0-1 0 0,0 0 0 0 0,0 0 0 0 0,0 0 0 0 0,-1 0 1 0 0,1 0-1 0 0,0 0 0 0 0,0 0 0 0 0,0 0 0 0 0,0 0 1 0 0,0 0-1 0 0,0 0 0 0 0,0 0 0 0 0,0 0 0 0 0,0 0 1 0 0,0 0-1 0 0,0 0 0 0 0,-1 0 0 0 0,1-1 0 0 0,0 1 1 0 0,0 0-1 0 0,0 0 0 0 0,0 0 0 0 0,0 0 0 0 0,0 0 1 0 0,0 0-1 0 0,0 0 0 0 0,0 0 0 0 0,0 0 0 0 0,0 0 1 0 0,0 0-1 0 0,0-1 0 0 0,0 1 0 0 0,0 0 0 0 0,0 0 1 0 0,0 0-1 0 0,0 0 0 0 0,0 0 0 0 0,0 0 0 0 0,0 0 1 0 0,0 0-1 0 0,0 0 0 0 0,0-1 0 0 0,0 1 0 0 0,0 0 1 0 0,-4 1 25 0 0,0-1 0 0 0,0 1 0 0 0,0 0 0 0 0,-1 0 0 0 0,-4 3 0 0 0,-235 114 380 0 0,203-95-387 0 0,-276 156 32 0 0,32-16 30 0 0,271-156-63 0 0,-1 2 48 0 0,0-1 0 0 0,0-1 0 0 0,-20 6 0 0 0,35-13-62 0 0,0 0 0 0 0,-1 0-1 0 0,1 1 1 0 0,0-1-1 0 0,0 0 1 0 0,0 0-1 0 0,0 0 1 0 0,-1 0-1 0 0,1 0 1 0 0,0 0 0 0 0,0 0-1 0 0,0 0 1 0 0,0 0-1 0 0,-1 0 1 0 0,1 0-1 0 0,0 0 1 0 0,0 0-1 0 0,0 0 1 0 0,-1 0 0 0 0,1 0-1 0 0,0 0 1 0 0,0 0-1 0 0,0 0 1 0 0,0 0-1 0 0,-1 0 1 0 0,1-1-1 0 0,0 1 1 0 0,0 0-1 0 0,0 0 1 0 0,0 0 0 0 0,0 0-1 0 0,-1 0 1 0 0,1 0-1 0 0,0 0 1 0 0,0-1-1 0 0,0 1 1 0 0,0 0-1 0 0,0 0 1 0 0,0 0 0 0 0,0 0-1 0 0,-1-1 1 0 0,1 1-1 0 0,0 0 1 0 0,0 0-1 0 0,0 0 1 0 0,0 0-1 0 0,0-1 1 0 0,0 1 0 0 0,0 0-1 0 0,0 0 1 0 0,0 0-1 0 0,0 0 1 0 0,0-1-1 0 0,0 1 1 0 0,0 0-1 0 0,0 0 1 0 0,0 0 0 0 0,0-1-1 0 0,0 1 1 0 0,1 0-1 0 0,-1 0 1 0 0,0 0-1 0 0,0 0 1 0 0,0 0-1 0 0,0-1 1 0 0,0 1-1 0 0,1-5-24 0 0,-1 0 0 0 0,1 0-1 0 0,0 1 1 0 0,1-1 0 0 0,-1 0-1 0 0,1 1 1 0 0,0-1-1 0 0,0 1 1 0 0,0-1 0 0 0,0 1-1 0 0,1 0 1 0 0,5-7 0 0 0,7-7 19 0 0,26-24 0 0 0,-12 12 49 0 0,137-148 77 0 0,-140 147-103 0 0,-22 21-17 0 0,-3 10-2 0 0,-1-1 0 0 0,0 1 0 0 0,0 0 0 0 0,0 0 0 0 0,0 0 0 0 0,0-1 0 0 0,0 1 0 0 0,0 0 0 0 0,-1 0-1 0 0,1 0 1 0 0,0-1 0 0 0,0 1 0 0 0,0 0 0 0 0,0 0 0 0 0,0 0 0 0 0,0 0 0 0 0,0-1 0 0 0,0 1 0 0 0,0 0 0 0 0,-1 0 0 0 0,1 0 0 0 0,0 0 0 0 0,0-1 0 0 0,0 1 0 0 0,0 0 0 0 0,0 0-1 0 0,-1 0 1 0 0,1 0 0 0 0,0 0 0 0 0,0 0 0 0 0,0 0 0 0 0,-1-1 0 0 0,-1 1 0 0 0,-1 0 1 0 0,0 0-1 0 0,1 0 0 0 0,-1 1 0 0 0,1-1 0 0 0,-1 1 1 0 0,0-1-1 0 0,1 1 0 0 0,-1 0 0 0 0,1 0 1 0 0,-4 1-1 0 0,-187 98 4 0 0,139-70-8 0 0,-18 10 37 0 0,8-2 37 0 0,-108 44 0 0 0,138-72-35 0 0,34-10-31 0 0,-1 0 0 0 0,1 1 0 0 0,-1-1 0 0 0,1 0-1 0 0,-1 0 1 0 0,1 0 0 0 0,-1 0 0 0 0,0 0 0 0 0,1 0 0 0 0,-1 0 0 0 0,1 0 0 0 0,-1 0 0 0 0,1 0 0 0 0,-1 0 0 0 0,1-1 0 0 0,-1 1 0 0 0,1 0-1 0 0,-1 0 1 0 0,1 0 0 0 0,-1-1 0 0 0,1 1 0 0 0,-1 0 0 0 0,1-1 0 0 0,-1 1 0 0 0,1 0 0 0 0,-1-1 0 0 0,1 1 0 0 0,0 0 0 0 0,-1-1 0 0 0,1 1-1 0 0,0-1 1 0 0,-1 1 0 0 0,1-1 0 0 0,0 1 0 0 0,0-1 0 0 0,-1 1 0 0 0,1-1 0 0 0,0-23-174 0 0,0 14 65 0 0,1 2 103 0 0,0 1-1 0 0,0-1 1 0 0,1 0-1 0 0,0 1 1 0 0,0-1-1 0 0,1 1 1 0 0,-1 0-1 0 0,2 0 1 0 0,-1 0-1 0 0,7-9 1 0 0,7-10 21 0 0,26-29-1 0 0,-33 44-22 0 0,-10 11 3 0 0,0 0 0 0 0,0 0 1 0 0,0-1-1 0 0,0 1 0 0 0,0 0 1 0 0,0 0-1 0 0,0 0 0 0 0,0 0 0 0 0,0 0 1 0 0,0 0-1 0 0,0 0 0 0 0,0 0 1 0 0,1 0-1 0 0,-1 0 0 0 0,0 0 1 0 0,0 0-1 0 0,0-1 0 0 0,0 1 0 0 0,0 0 1 0 0,0 0-1 0 0,0 0 0 0 0,0 0 1 0 0,0 0-1 0 0,0 0 0 0 0,0 0 0 0 0,0 0 1 0 0,0 0-1 0 0,0 0 0 0 0,0-1 1 0 0,0 1-1 0 0,0 0 0 0 0,0 0 0 0 0,-1 0 1 0 0,1 0-1 0 0,0 0 0 0 0,0 0 1 0 0,0 0-1 0 0,0 0 0 0 0,0 0 1 0 0,0 0-1 0 0,0 0 0 0 0,0 0 0 0 0,0-1 1 0 0,0 1-1 0 0,0 0 0 0 0,0 0 1 0 0,0 0-1 0 0,0 0 0 0 0,0 0 0 0 0,-1 0 1 0 0,1 0-1 0 0,0 0 0 0 0,0 0 1 0 0,0 0-1 0 0,0 0 0 0 0,0 0 1 0 0,0 0-1 0 0,0 0 0 0 0,0 0 0 0 0,0 0 1 0 0,0 0-1 0 0,-1 0 0 0 0,1 0 1 0 0,0 0-1 0 0,0 0 0 0 0,0 0 0 0 0,0 0 1 0 0,0 0-1 0 0,0 0 0 0 0,-13 2 34 0 0,-14 6 26 0 0,-28 15-63 0 0,1 3 0 0 0,1 2 0 0 0,1 2 0 0 0,2 3 0 0 0,-88 74 0 0 0,131-100 14 0 0,-10 6 34 0 0,18-33-218 0 0,4 5 112 0 0,1 1 0 0 0,0 1 0 0 0,1-1-1 0 0,0 1 1 0 0,1 0 0 0 0,14-17-1 0 0,-2 2 91 0 0,-1 0-11 0 0,6-8 10 0 0,-2 0-1 0 0,28-60 0 0 0,-43 74 2 0 0,-8 21-27 0 0,1 0 1 0 0,-1 0-1 0 0,0 0 0 0 0,1 0 0 0 0,-1-1 0 0 0,0 1 0 0 0,0 0 0 0 0,0 0 0 0 0,0 0 0 0 0,0 0 1 0 0,0 0-1 0 0,0 0 0 0 0,0-1 0 0 0,-1 1 0 0 0,1 0 0 0 0,0 0 0 0 0,-1-1 0 0 0,-7 2-3 0 0,-1 1 11 0 0,0 1 0 0 0,-1 0 0 0 0,1 0-1 0 0,0 1 1 0 0,1 0 0 0 0,-1 1 0 0 0,-13 7 0 0 0,-64 42-70 0 0,58-34 56 0 0,-33 20 20 0 0,-14 11 41 0 0,-115 57 1 0 0,169-98-57 0 0,21-10 0 0 0,0 1 0 0 0,0 0 0 0 0,0 0 0 0 0,0 0 0 0 0,0 0 1 0 0,0 0-1 0 0,0 0 0 0 0,0 0 0 0 0,0 0 0 0 0,0 0 0 0 0,0-1 0 0 0,0 1 0 0 0,0 0 0 0 0,0 0 0 0 0,0 0 0 0 0,0 0 0 0 0,0 0 1 0 0,0 0-1 0 0,0 0 0 0 0,0 0 0 0 0,0-1 0 0 0,0 1 0 0 0,0 0 0 0 0,0 0 0 0 0,0 0 0 0 0,0 0 0 0 0,0 0 0 0 0,0 0 0 0 0,0 0 1 0 0,0 0-1 0 0,0-1 0 0 0,0 1 0 0 0,0 0 0 0 0,0 0 0 0 0,0 0 0 0 0,-1 0 0 0 0,1 0 0 0 0,0 0 0 0 0,0 0 0 0 0,0 0 0 0 0,0 0 1 0 0,0 0-1 0 0,0 0 0 0 0,0 0 0 0 0,0 0 0 0 0,0 0 0 0 0,-1 0 0 0 0,1 0 0 0 0,0 0 0 0 0,0 0 0 0 0,0 0 0 0 0,0 0 0 0 0,0 0 1 0 0,0 0-1 0 0,0 0 0 0 0,0 0 0 0 0,-1 0 0 0 0,1 0 0 0 0,0 0 0 0 0,0 0 0 0 0,0 0 0 0 0,0 0 0 0 0,1-5-39 0 0,1 0-1 0 0,-1 0 0 0 0,1 1 1 0 0,0-1-1 0 0,1 0 1 0 0,-1 1-1 0 0,1 0 0 0 0,0-1 1 0 0,0 1-1 0 0,0 1 0 0 0,0-1 1 0 0,1 0-1 0 0,6-5 1 0 0,0-1-15 0 0,-8 8 56 0 0,96-99 39 0 0,103-137-1 0 0,-196 231-34 0 0,-3 5-6 0 0,-1 1 0 0 0,0-1 1 0 0,0 1-1 0 0,0-1 0 0 0,0 1 1 0 0,0-1-1 0 0,0 0 0 0 0,0 0 1 0 0,0 1-1 0 0,-1-1 0 0 0,1 0 1 0 0,-1 0-1 0 0,1 0 0 0 0,-1-2 0 0 0,0 4 0 0 0,-1 0-1 0 0,1-1 0 0 0,-1 1 0 0 0,0 0 0 0 0,1 0 0 0 0,-1 0 0 0 0,1 0 0 0 0,-1 0 0 0 0,0 0 0 0 0,1 0 0 0 0,-1 0 0 0 0,0 0 0 0 0,1 0 0 0 0,-1 0 0 0 0,0 0 0 0 0,1 0 0 0 0,-1 0 0 0 0,1 0 0 0 0,-1 1 0 0 0,0-1 0 0 0,1 0 0 0 0,-1 1 0 0 0,1-1 0 0 0,-1 1 0 0 0,-214 110 193 0 0,112-54-151 0 0,68-39-41 0 0,-5 4 8 0 0,-56 22 0 0 0,96-44-9 0 0,0 0 1 0 0,0 0-1 0 0,0 0 1 0 0,0 0-1 0 0,0 0 1 0 0,0 0-1 0 0,0 0 1 0 0,-1 0-1 0 0,1 0 1 0 0,0 0-1 0 0,0 0 1 0 0,0 0-1 0 0,0 0 1 0 0,0 0 0 0 0,0 0-1 0 0,0 0 1 0 0,0 0-1 0 0,-1 0 1 0 0,1 0-1 0 0,0 0 1 0 0,0 0-1 0 0,0 0 1 0 0,0 0-1 0 0,0-1 1 0 0,0 1-1 0 0,0 0 1 0 0,0 0-1 0 0,0 0 1 0 0,-1 0-1 0 0,1 0 1 0 0,0 0 0 0 0,0 0-1 0 0,0 0 1 0 0,0 0-1 0 0,0 0 1 0 0,0-1-1 0 0,0 1 1 0 0,0 0-1 0 0,0 0 1 0 0,0 0-1 0 0,0 0 1 0 0,0 0-1 0 0,0 0 1 0 0,0 0-1 0 0,0 0 1 0 0,0-1-1 0 0,0 1 1 0 0,0 0 0 0 0,0 0-1 0 0,0 0 1 0 0,0 0-1 0 0,0 0 1 0 0,0 0-1 0 0,0 0 1 0 0,0 0-1 0 0,0-1 1 0 0,0 1-1 0 0,0 0 1 0 0,0 0-1 0 0,0 0 1 0 0,0 0-1 0 0,1 0 1 0 0,-1 0-1 0 0,0 0 1 0 0,0 0 0 0 0,0 0-1 0 0,5-10-127 0 0,16-12-30 0 0,1 0 1 0 0,33-24 0 0 0,-14 12 292 0 0,7-8-31 0 0,85-67-80 0 0,-131 107-112 0 0,-4 3 98 0 0,1-1-1 0 0,-1 0 1 0 0,0 1-1 0 0,0-1 0 0 0,1 1 1 0 0,-1-1-1 0 0,0 1 1 0 0,1 0-1 0 0,-1 0 1 0 0,-2 2-1 0 0,-5 2 47 0 0,-148 80 36 0 0,-39 19-88 0 0,387-217-713 0 0,-88 54 863 0 0,-15 8-155 0 0,103-43 0 0 0,-183 91-30 0 0,1-1 0 0 0,0 1 0 0 0,0 1 0 0 0,16-3 0 0 0,-25 5 27 0 0,0-1 1 0 0,0 1-1 0 0,0 0 0 0 0,0 0 0 0 0,0 0 1 0 0,1 0-1 0 0,-1 0 0 0 0,0 0 0 0 0,0 0 1 0 0,0 0-1 0 0,0 0 0 0 0,0 0 0 0 0,0 0 0 0 0,1 0 1 0 0,-1 0-1 0 0,0 0 0 0 0,0 0 0 0 0,0 0 1 0 0,0 0-1 0 0,0 0 0 0 0,0 0 0 0 0,0 0 1 0 0,1 0-1 0 0,-1 0 0 0 0,0 0 0 0 0,0 1 1 0 0,0-1-1 0 0,0 0 0 0 0,0 0 0 0 0,0 0 1 0 0,0 0-1 0 0,0 0 0 0 0,1 0 0 0 0,-1 0 1 0 0,0 0-1 0 0,0 0 0 0 0,0 0 0 0 0,0 1 0 0 0,0-1 1 0 0,0 0-1 0 0,0 0 0 0 0,0 0 0 0 0,0 0 1 0 0,0 0-1 0 0,0 0 0 0 0,0 0 0 0 0,0 1 1 0 0,0-1-1 0 0,0 0 0 0 0,0 0 0 0 0,0 0 1 0 0,0 0-1 0 0,0 0 0 0 0,0 0 0 0 0,0 1 1 0 0,0-1-1 0 0,0 0 0 0 0,0 0 0 0 0,0 0 0 0 0,0 0 1 0 0,-1 6-2 0 0,1 0 1 0 0,-1 0-1 0 0,0-1 1 0 0,-1 1-1 0 0,1 0 1 0 0,-1-1-1 0 0,0 1 1 0 0,-1-1-1 0 0,1 0 1 0 0,-1 1-1 0 0,0-1 1 0 0,-1-1-1 0 0,-5 8 0 0 0,-7 6 54 0 0,-1 0 0 0 0,-19 15-1 0 0,15-15-42 0 0,-267 233 159 0 0,283-247-161 0 0,-1 1 0 0 0,1-1-1 0 0,0 1 1 0 0,0 0 0 0 0,0 1 0 0 0,1-1-1 0 0,-1 1 1 0 0,1 0 0 0 0,-5 11 0 0 0,8-13-24 0 0,10-4-41 0 0,1-1 0 0 0,0 0 0 0 0,1-2 0 0 0,-1 1-1 0 0,19-8 1 0 0,46-24-54 0 0,-74 33 115 0 0,101-47 28 0 0,189-94 173 0 0,36-13-163 0 0,10 32 4 0 0,-303 114-119 0 0,-34 9 72 0 0,1 0 0 0 0,-1 0 0 0 0,0 0 0 0 0,0-1 0 0 0,1 1 0 0 0,-1 0 0 0 0,0 0 0 0 0,0 0 0 0 0,1 0 0 0 0,-1 0 0 0 0,0 0 0 0 0,1 0 0 0 0,-1 0 0 0 0,0 0 0 0 0,1 0 0 0 0,-1 0 0 0 0,0 0 0 0 0,1 0 0 0 0,-1 0 0 0 0,0 0 0 0 0,0 0 0 0 0,1 0 0 0 0,-1 0 0 0 0,0 0 0 0 0,1 0 0 0 0,-1 1 0 0 0,0-1 0 0 0,0 0 0 0 0,1 0 0 0 0,-1 0 0 0 0,0 0 0 0 0,0 1-1 0 0,1-1 1 0 0,-1 0 0 0 0,0 0 0 0 0,0 1 0 0 0,0-1 0 0 0,1 0 0 0 0,-1 0 0 0 0,0 1 0 0 0,0-1 0 0 0,0 0 0 0 0,0 0 0 0 0,0 1 0 0 0,0-1 0 0 0,-5 15-25 0 0,-4-4 75 0 0,-1 0 1 0 0,0-1-1 0 0,-1 0 1 0 0,0 0 0 0 0,-19 13-1 0 0,11-10-1 0 0,-464 362 650 0 0,390-298-449 0 0,122-94-394 0 0,483-299 75 0 0,-351 229 178 0 0,229-90-1 0 0,-370 169-110 0 0,-17 6-12 0 0,0 1 1 0 0,0-1-1 0 0,0 1 1 0 0,0 0 0 0 0,0 0-1 0 0,1 0 1 0 0,-1 1-1 0 0,0-1 1 0 0,6 1-1 0 0,-7 0-112 0 0,-6 4 46 0 0,-18 16 162 0 0,-1 0 1 0 0,-33 20-1 0 0,8-7-58 0 0,-281 231 136 0 0,317-254-145 0 0,1 0 1 0 0,0 1 0 0 0,1 1-1 0 0,0-1 1 0 0,-11 19 0 0 0,21-30-12 0 0,-1 0 1 0 0,1 0-1 0 0,0 1 1 0 0,0-1-1 0 0,0 0 1 0 0,-1 0-1 0 0,1 0 1 0 0,0 1-1 0 0,0-1 1 0 0,0 0-1 0 0,0 0 1 0 0,0 1-1 0 0,-1-1 1 0 0,1 0-1 0 0,0 0 1 0 0,0 1-1 0 0,0-1 1 0 0,0 0-1 0 0,0 0 1 0 0,0 1-1 0 0,0-1 1 0 0,0 0-1 0 0,0 1 1 0 0,0-1-1 0 0,0 0 1 0 0,0 0-1 0 0,0 1 1 0 0,0-1-1 0 0,0 0 1 0 0,0 0-1 0 0,0 1 1 0 0,1-1-1 0 0,-1 0 1 0 0,0 0-1 0 0,0 1 1 0 0,0-1-1 0 0,0 0 1 0 0,0 0-1 0 0,1 0 1 0 0,-1 1-1 0 0,0-1 1 0 0,0 0-1 0 0,0 0 1 0 0,1 0-1 0 0,-1 1 1 0 0,0-1-1 0 0,0 0 1 0 0,0 0-1 0 0,1 0 1 0 0,-1 0-1 0 0,0 0 1 0 0,1 0-1 0 0,-1 0 1 0 0,0 0-1 0 0,0 1 1 0 0,1-1-1 0 0,-1 0 1 0 0,0 0-1 0 0,0 0 1 0 0,1 0-1 0 0,-1 0 1 0 0,0 0-1 0 0,1-1 1 0 0,6 1-23 0 0,0 0 0 0 0,0-1 0 0 0,-1 0 0 0 0,1 0 0 0 0,0 0 0 0 0,10-5 0 0 0,109-44-281 0 0,214-95 305 0 0,954-418-437 0 0,-1270 552 348 0 0,27-10-258 0 0,-50 21 209 0 0,-7 6 63 0 0,-63 51 283 0 0,-106 66 1 0 0,30-23-162 0 0,-30 30-14 0 0,16-11-14 0 0,-722 562 91 0 0,769-584-4 0 0,100-86-58 0 0,1 1 0 0 0,-13 15 0 0 0,24-27-49 0 0,0 0 1 0 0,0 0-1 0 0,0 0 1 0 0,-1 0 0 0 0,1 0-1 0 0,0 0 1 0 0,0 0 0 0 0,0 0-1 0 0,0 0 1 0 0,0 0-1 0 0,0 0 1 0 0,-1 1 0 0 0,1-1-1 0 0,0 0 1 0 0,0 0-1 0 0,0 0 1 0 0,0 0 0 0 0,0 0-1 0 0,0 0 1 0 0,0 0 0 0 0,0 1-1 0 0,0-1 1 0 0,0 0-1 0 0,0 0 1 0 0,0 0 0 0 0,-1 0-1 0 0,1 0 1 0 0,0 0 0 0 0,0 1-1 0 0,0-1 1 0 0,0 0-1 0 0,0 0 1 0 0,0 0 0 0 0,0 0-1 0 0,0 0 1 0 0,0 1 0 0 0,0-1-1 0 0,1 0 1 0 0,-1 0-1 0 0,0 0 1 0 0,0 0 0 0 0,0 0-1 0 0,0 1 1 0 0,0-1 0 0 0,0 0-1 0 0,0 0 1 0 0,0 0-1 0 0,0 0 1 0 0,0 0 0 0 0,0 0-1 0 0,0 0 1 0 0,1 0-1 0 0,-1 1 1 0 0,0-1 0 0 0,0 0-1 0 0,0 0 1 0 0,0 0 0 0 0,1 0-1 0 0,18-6-47 0 0,86-41-271 0 0,56-42 278 0 0,1190-657 710 0 0,-923 504-441 0 0,-411 232-222 0 0,-6 4-17 0 0,0-1 0 0 0,0 0 0 0 0,0-1 1 0 0,13-13-1 0 0,-22 19 3 0 0,-7 3 88 0 0,-14 6 109 0 0,1 0 0 0 0,-1 1 0 0 0,-22 15 0 0 0,24-14-144 0 0,-361 230 15 0 0,19 28-148 0 0,-74 90 46 0 0,413-339 59 0 0,-22 27-1 0 0,31-26-16 0 0,11-19-2 0 0,0 0 0 0 0,0 0 0 0 0,-1 1 0 0 0,1-1 0 0 0,0 0 0 0 0,0 0 0 0 0,0 0 1 0 0,0 1-1 0 0,0-1 0 0 0,0 0 0 0 0,0 0 0 0 0,0 0 0 0 0,0 1 0 0 0,1-1 0 0 0,-1 0 0 0 0,0 0 0 0 0,0 0 0 0 0,0 1 0 0 0,0-1 0 0 0,0 0 0 0 0,0 0 0 0 0,0 0 0 0 0,0 1 0 0 0,1-1 0 0 0,-1 0 0 0 0,0 0 0 0 0,0 0 0 0 0,0 0 0 0 0,0 0 0 0 0,0 1 0 0 0,1-1 0 0 0,-1 0 0 0 0,0 0 0 0 0,0 0 0 0 0,0 0 0 0 0,1 0 1 0 0,-1 0-1 0 0,0 0 0 0 0,0 0 0 0 0,0 0 0 0 0,1 0 0 0 0,-1 0 0 0 0,0 0 0 0 0,5 0-20 0 0,0-1-1 0 0,-1 0 1 0 0,1 0 0 0 0,-1-1 0 0 0,0 1 0 0 0,1-1 0 0 0,6-4-1 0 0,109-58-191 0 0,55-30 224 0 0,1205-606 634 0 0,-1301 660-952 0 0,-130 67 409 0 0,-517 298-1 0 0,-154 185-248 0 0,718-507 149 0 0,-38 28 52 0 0,2 2-1 0 0,-37 39 1 0 0,70-63 12 0 0,14-9-54 0 0,11-7-120 0 0,27-15 0 0 0,94-57-77 0 0,334-176 500 0 0,-279 152-224 0 0,543-266-8 0 0,-704 354-162 0 0,-22 10 18 0 0,0 0 0 0 0,-1-1 0 0 0,18-12 0 0 0,-77 39 98 0 0,-500 278 202 0 0,27 44-355 0 0,309-181 100 0 0,207-157 22 0 0,0 0 0 0 0,1 1 0 0 0,-9 9 0 0 0,14-15-6 0 0,1 0 0 0 0,-1 0 0 0 0,0 0 0 0 0,0 0 0 0 0,0 0 0 0 0,0 0 0 0 0,0 0 0 0 0,0 0 1 0 0,0 0-1 0 0,0 0 0 0 0,0 0 0 0 0,0 0 0 0 0,0 0 0 0 0,0 0 0 0 0,1 0 0 0 0,-1 0 0 0 0,0 0 0 0 0,0 0 0 0 0,0 0 0 0 0,0 0 0 0 0,0 0 0 0 0,0 0 1 0 0,0 1-1 0 0,0-1 0 0 0,0 0 0 0 0,0 0 0 0 0,0 0 0 0 0,0 0 0 0 0,0 0 0 0 0,0 0 0 0 0,1 0 0 0 0,-1 0 0 0 0,0 0 0 0 0,0 0 0 0 0,0 0 0 0 0,0 0 1 0 0,0 0-1 0 0,0 0 0 0 0,0 1 0 0 0,0-1 0 0 0,0 0 0 0 0,0 0 0 0 0,0 0 0 0 0,0 0 0 0 0,0 0 0 0 0,0 0 0 0 0,0 0 0 0 0,0 0 0 0 0,0 0 0 0 0,0 0 0 0 0,0 0 1 0 0,0 1-1 0 0,0-1 0 0 0,0 0 0 0 0,0 0 0 0 0,0 0 0 0 0,-1 0 0 0 0,1 0 0 0 0,0 0 0 0 0,0 0 0 0 0,0 0 0 0 0,20-9-65 0 0,86-49-280 0 0,866-463 858 0 0,-713 397-577 0 0,-170 77-241 0 0,-731 401 726 0 0,576-315-407 0 0,46-27-11 0 0,3-3 5 0 0,0 1 1 0 0,1 1 0 0 0,-26 22 0 0 0,39-29 48 0 0,11-5-26 0 0,37-13-76 0 0,-1-2 0 0 0,78-39-1 0 0,-47 19 136 0 0,40-17 7 0 0,185-81 1 0 0,-282 126-108 0 0,-13 6 1 0 0,0-1 0 0 0,0 1 0 0 0,0 0 0 0 0,1 0 0 0 0,-1 1-1 0 0,0 0 1 0 0,11-2 0 0 0,-31 18 196 0 0,-231 168-40 0 0,152-116-126 0 0,-432 308-45 0 0,470-333 35 0 0,49-34-1 0 0,13-8-17 0 0,7-5-37 0 0,0 0 0 0 0,16-8 1 0 0,296-159-36 0 0,-188 98 161 0 0,97-53 9 0 0,266-140-273 0 0,-478 256 110 0 0,-14 8 32 0 0,-1-1-1 0 0,1 0 1 0 0,-1 0-1 0 0,0-1 1 0 0,8-6-1 0 0,-43 14 92 0 0,-20 16 28 0 0,-90 49 1 0 0,-45 42-31 0 0,-143 115 73 0 0,324-224-121 0 0,-20 15 7 0 0,1 1 0 0 0,-29 28 0 0 0,47-41-9 0 0,9-7-20 0 0,23-10-48 0 0,0-2 0 0 0,26-19 0 0 0,-16 10 49 0 0,389-231 95 0 0,-222 138-44 0 0,-31 18 18 0 0,-153 84-57 0 0,-26 14 27 0 0,-9 4 21 0 0,-31 15 13 0 0,1 2 1 0 0,-46 28 0 0 0,-85 65-63 0 0,-207 174 62 0 0,353-264-33 0 0,2 0 0 0 0,0 2 0 0 0,-27 33 0 0 0,45-44-5 0 0,8-14-16 0 0,0 0 1 0 0,0 0-1 0 0,0 1 1 0 0,0-1 0 0 0,0 0-1 0 0,0 0 1 0 0,0 0 0 0 0,0 0-1 0 0,0 0 1 0 0,0 0-1 0 0,0 0 1 0 0,0 1 0 0 0,0-1-1 0 0,0 0 1 0 0,0 0 0 0 0,0 0-1 0 0,0 0 1 0 0,0 0-1 0 0,0 1 1 0 0,0-1 0 0 0,0 0-1 0 0,0 0 1 0 0,0 0-1 0 0,0 0 1 0 0,0 0 0 0 0,0 0-1 0 0,0 0 1 0 0,0 1 0 0 0,1-1-1 0 0,-1 0 1 0 0,0 0-1 0 0,0 0 1 0 0,0 0 0 0 0,0 0-1 0 0,0 0 1 0 0,0 0 0 0 0,0 0-1 0 0,0 0 1 0 0,1 0-1 0 0,-1 0 1 0 0,0 0 0 0 0,0 0-1 0 0,0 1 1 0 0,0-1 0 0 0,0 0-1 0 0,0 0 1 0 0,1 0-1 0 0,-1 0 1 0 0,0 0 0 0 0,4-2-20 0 0,0 1 1 0 0,0 0-1 0 0,0-1 1 0 0,0 0-1 0 0,0 0 0 0 0,5-3 1 0 0,95-56-195 0 0,83-52 240 0 0,634-372-217 0 0,-804 475 181 0 0,107-66-97 0 0,-150 85 243 0 0,-121 71 28 0 0,-156 116 0 0 0,-187 175-140 0 0,438-330 16 0 0,-85 87 0 0 0,133-124-26 0 0,1 0 1 0 0,0 0-1 0 0,-1 0 0 0 0,-3 8 0 0 0,7-12-13 0 0,0 0-1 0 0,0 0 0 0 0,0 1 0 0 0,0-1 0 0 0,0 0 0 0 0,0 0 0 0 0,0 0 0 0 0,0 0 0 0 0,0 0 0 0 0,0 1 0 0 0,0-1 0 0 0,0 0 0 0 0,0 0 0 0 0,0 0 0 0 0,0 0 0 0 0,0 0 0 0 0,0 0 0 0 0,1 1 0 0 0,-1-1 0 0 0,0 0 0 0 0,0 0 0 0 0,0 0 0 0 0,0 0 0 0 0,0 0 0 0 0,0 0 0 0 0,0 0 1 0 0,0 0-1 0 0,1 1 0 0 0,-1-1 0 0 0,0 0 0 0 0,0 0 0 0 0,0 0 0 0 0,0 0 0 0 0,0 0 0 0 0,0 0 0 0 0,1 0 0 0 0,-1 0 0 0 0,0 0 0 0 0,0 0 0 0 0,0 0 0 0 0,0 0 0 0 0,0 0 0 0 0,1 0 0 0 0,-1 0 0 0 0,0 0 0 0 0,0 0 0 0 0,0 0 0 0 0,0 0 0 0 0,0 0 0 0 0,0 0 0 0 0,1 0 1 0 0,-1 0-1 0 0,0-1 0 0 0,0 1 0 0 0,0 0 0 0 0,0 0 0 0 0,0 0 0 0 0,0 0 0 0 0,0 0 0 0 0,1 0 0 0 0,25-13-74 0 0,84-55-156 0 0,1137-670 209 0 0,-1221 724 26 0 0,-13 7 1 0 0,-1 0 1 0 0,0-1-1 0 0,0 0 1 0 0,13-12-1 0 0,-25 20-5 0 0,0 0 0 0 0,0 0-1 0 0,-1 0 1 0 0,1 0-1 0 0,0 0 1 0 0,0 0 0 0 0,0 0-1 0 0,0 0 1 0 0,0-1-1 0 0,0 1 1 0 0,-1 0 0 0 0,1 0-1 0 0,0 0 1 0 0,0 0-1 0 0,0 0 1 0 0,0 0 0 0 0,0 0-1 0 0,0 0 1 0 0,0 0-1 0 0,0-1 1 0 0,-1 1 0 0 0,1 0-1 0 0,0 0 1 0 0,0 0-1 0 0,0 0 1 0 0,0 0 0 0 0,0-1-1 0 0,0 1 1 0 0,0 0-1 0 0,0 0 1 0 0,0 0 0 0 0,0 0-1 0 0,0 0 1 0 0,0 0-1 0 0,0-1 1 0 0,0 1 0 0 0,0 0-1 0 0,0 0 1 0 0,0 0-1 0 0,0 0 1 0 0,0 0 0 0 0,0-1-1 0 0,0 1 1 0 0,0 0-1 0 0,0 0 1 0 0,1 0 0 0 0,-1 0-1 0 0,0 0 1 0 0,0 0-1 0 0,0-1 1 0 0,0 1 0 0 0,0 0-1 0 0,0 0 1 0 0,0 0-1 0 0,0 0 1 0 0,0 0 0 0 0,1 0-1 0 0,-9 0 27 0 0,0 0 1 0 0,1 1-1 0 0,-1-1 0 0 0,1 2 0 0 0,-1-1 0 0 0,1 1 1 0 0,-1 1-1 0 0,1-1 0 0 0,0 1 0 0 0,-9 5 0 0 0,-6 1 16 0 0,-96 42-28 0 0,-191 115 1 0 0,-81 105-26 0 0,385-267 10 0 0,-27 20 15 0 0,2 1-1 0 0,0 1 1 0 0,-32 37 0 0 0,60-60-16 0 0,0-1-1 0 0,0 1 1 0 0,0 0 0 0 0,0 0 0 0 0,1 0 0 0 0,-1 0 0 0 0,0 4 0 0 0,1-7-1 0 0,1 0 1 0 0,0 0 0 0 0,0 1 0 0 0,0-1 0 0 0,0 0 0 0 0,0 0 0 0 0,0 1-1 0 0,0-1 1 0 0,1 0 0 0 0,-1 0 0 0 0,0 0 0 0 0,0 1 0 0 0,0-1-1 0 0,0 0 1 0 0,0 0 0 0 0,0 0 0 0 0,0 1 0 0 0,0-1 0 0 0,0 0 0 0 0,1 0-1 0 0,-1 0 1 0 0,0 0 0 0 0,0 1 0 0 0,0-1 0 0 0,0 0 0 0 0,1 0 0 0 0,-1 0-1 0 0,0 0 1 0 0,0 0 0 0 0,0 0 0 0 0,0 1 0 0 0,1-1 0 0 0,-1 0-1 0 0,0 0 1 0 0,0 0 0 0 0,1 0 0 0 0,-1 0 0 0 0,0 0 0 0 0,0 0 0 0 0,0 0-1 0 0,1 0 1 0 0,22-6-120 0 0,74-37-130 0 0,605-350 366 0 0,-520 287-99 0 0,-155 90-8 0 0,-13 9-5 0 0,-1-1-1 0 0,0 0 1 0 0,-1-1 0 0 0,17-14-1 0 0,-22 13-12 0 0,-6 10 11 0 0,-1 0-1 0 0,0-1 1 0 0,0 1-1 0 0,0 0 0 0 0,0 0 1 0 0,0 0-1 0 0,0 0 1 0 0,0-1-1 0 0,0 1 1 0 0,0 0-1 0 0,0 0 0 0 0,0 0 1 0 0,0-1-1 0 0,0 1 1 0 0,0 0-1 0 0,0 0 1 0 0,0 0-1 0 0,0-1 0 0 0,0 1 1 0 0,0 0-1 0 0,0 0 1 0 0,0 0-1 0 0,0-1 1 0 0,0 1-1 0 0,0 0 0 0 0,-1 0 1 0 0,1 0-1 0 0,0 0 1 0 0,0-1-1 0 0,0 1 1 0 0,0 0-1 0 0,0 0 0 0 0,-1 0 1 0 0,1 0-1 0 0,0 0 1 0 0,0 0-1 0 0,0-1 1 0 0,0 1-1 0 0,-1 0 0 0 0,1 0 1 0 0,0 0-1 0 0,0 0 1 0 0,0 0-1 0 0,0 0 0 0 0,-1 0 1 0 0,1 0-1 0 0,0 0 1 0 0,0 0-1 0 0,0 0 1 0 0,-1 0-1 0 0,1 0 0 0 0,0 0 1 0 0,0 0-1 0 0,0 0 1 0 0,-1 0-1 0 0,1 0 1 0 0,0 0-1 0 0,0 0 0 0 0,0 0 1 0 0,-1 0-1 0 0,1 1 1 0 0,0-1-1 0 0,0 0 1 0 0,0 0-1 0 0,0 0 0 0 0,-1 0 1 0 0,-23 7 39 0 0,1 0 0 0 0,-1 1 0 0 0,-36 19 0 0 0,-65 36-41 0 0,3 6-1 0 0,3 5 1 0 0,-120 98 0 0 0,237-170 1 0 0,-67 55-2 0 0,59-49 0 0 0,1 1-1 0 0,0 1 1 0 0,1 0 0 0 0,-8 11-1 0 0,15-20 4 0 0,0 0 0 0 0,1 0 0 0 0,-1 0 0 0 0,0 0-1 0 0,1 1 1 0 0,-1-1 0 0 0,1 0 0 0 0,0 0 0 0 0,-1 0-1 0 0,1 1 1 0 0,0-1 0 0 0,0 2 0 0 0,0-3-3 0 0,0 0 1 0 0,0 1-1 0 0,0-1 1 0 0,0 0-1 0 0,0 1 0 0 0,0-1 1 0 0,0 0-1 0 0,1 0 1 0 0,-1 1-1 0 0,0-1 0 0 0,0 0 1 0 0,0 1-1 0 0,1-1 1 0 0,-1 0-1 0 0,0 0 1 0 0,0 1-1 0 0,1-1 0 0 0,-1 0 1 0 0,0 0-1 0 0,0 0 1 0 0,1 1-1 0 0,-1-1 0 0 0,0 0 1 0 0,1 0-1 0 0,-1 0 1 0 0,0 0-1 0 0,1 0 1 0 0,0 0-1 0 0,2 1-17 0 0,1-1-1 0 0,0-1 1 0 0,-1 1-1 0 0,1 0 1 0 0,0-1-1 0 0,-1 0 1 0 0,1 0-1 0 0,5-2 1 0 0,95-41-152 0 0,681-365-171 0 0,-765 398 338 0 0,17-10 5 0 0,-35 19 1 0 0,1 1 0 0 0,-1-1 0 0 0,1 0 0 0 0,-1 0 0 0 0,0 0 0 0 0,0-1 0 0 0,0 1 0 0 0,0-1 0 0 0,0 1 0 0 0,1-3 0 0 0,-6 3-15 0 0,-2 3 36 0 0,0-1 1 0 0,1 1 0 0 0,-1 0 0 0 0,0 0 0 0 0,0 1 0 0 0,1-1-1 0 0,-1 1 1 0 0,-4 2 0 0 0,-38 24-25 0 0,26-15-2 0 0,-6 3-2 0 0,1 1-1 0 0,0 1 0 0 0,2 1 0 0 0,-30 29 0 0 0,53-47 0 0 0,0 1-1 0 0,-1 0 1 0 0,1 0 0 0 0,0 0-1 0 0,0 0 1 0 0,0 0 0 0 0,0 0-1 0 0,0 1 1 0 0,1-1 0 0 0,-1 0-1 0 0,1 0 1 0 0,-1 1-1 0 0,1-1 1 0 0,0 0 0 0 0,0 0-1 0 0,0 1 1 0 0,0 2 0 0 0,-2 22-48 0 0,-1-20 56 0 0,1-1-1 0 0,-1 0 1 0 0,-1 0 0 0 0,1 0 0 0 0,-1 0 0 0 0,0 0-1 0 0,-6 6 1 0 0,-38 37 18 0 0,42-44-19 0 0,-302 260-4 0 0,178-157-101 0 0,98-78 72 0 0,27-24 27 0 0,5-4-8 0 0,17-12-255 0 0,-15 9 230 0 0,535-369-1586 0 0,-175 102 1568 0 0,-352 261 58 0 0,-3 2 2 0 0,0-1-1 0 0,-1 1 1 0 0,11-11-1 0 0,-41 24 462 0 0,-223 135-222 0 0,10 21-231 0 0,235-163-11 0 0,-382 287 252 0 0,377-283-237 0 0,-6 5 38 0 0,0 0 1 0 0,1 0-1 0 0,1 2 1 0 0,-1-1-1 0 0,2 2 1 0 0,-12 16 0 0 0,22-29-55 0 0,0 0 0 0 0,0 0 0 0 0,0 0 0 0 0,-1 0 0 0 0,1 0 0 0 0,0 0 0 0 0,0 0 0 0 0,0 0 0 0 0,0 0 1 0 0,0 0-1 0 0,0 0 0 0 0,0 0 0 0 0,0 0 0 0 0,0 0 0 0 0,0 1 0 0 0,0-1 0 0 0,-1 0 0 0 0,1 0 0 0 0,0 0 0 0 0,0 0 0 0 0,0 0 1 0 0,0 0-1 0 0,0 0 0 0 0,0 0 0 0 0,0 1 0 0 0,0-1 0 0 0,0 0 0 0 0,0 0 0 0 0,0 0 0 0 0,0 0 0 0 0,0 0 0 0 0,0 0 0 0 0,0 0 1 0 0,0 0-1 0 0,0 1 0 0 0,0-1 0 0 0,0 0 0 0 0,0 0 0 0 0,1 0 0 0 0,-1 0 0 0 0,0 0 0 0 0,0 0 0 0 0,0 0 0 0 0,0 0 1 0 0,0 0-1 0 0,0 1 0 0 0,0-1 0 0 0,0 0 0 0 0,0 0 0 0 0,0 0 0 0 0,0 0 0 0 0,0 0 0 0 0,1 0 0 0 0,-1 0 0 0 0,0 0 0 0 0,0 0 1 0 0,0 0-1 0 0,15-4-61 0 0,66-30-63 0 0,146-86 0 0 0,-154 79 118 0 0,637-390-98 0 0,-686 415 102 0 0,1 0 0 0 0,23-20 1 0 0,-39 26 18 0 0,-9 10-13 0 0,0 0 0 0 0,0-1 0 0 0,0 1 0 0 0,0 0 0 0 0,0 0 0 0 0,0 0 0 0 0,0 0 0 0 0,0 0 0 0 0,0 0 1 0 0,0 0-1 0 0,0-1 0 0 0,0 1 0 0 0,0 0 0 0 0,-1 0 0 0 0,1 0 0 0 0,0 0 0 0 0,0 0 0 0 0,0 0 1 0 0,0 0-1 0 0,0 0 0 0 0,0 0 0 0 0,-1 0 0 0 0,1 0 0 0 0,0 0 0 0 0,0 0 0 0 0,0 0 0 0 0,0 0 1 0 0,0 0-1 0 0,0 0 0 0 0,-1 0 0 0 0,1 0 0 0 0,0 0 0 0 0,0 0 0 0 0,0 0 0 0 0,0 0 0 0 0,0 0 0 0 0,0 0 1 0 0,-1 0-1 0 0,1 0 0 0 0,0 0 0 0 0,0 0 0 0 0,0 0 0 0 0,0 0 0 0 0,0 0 0 0 0,-25 10 360 0 0,-38 24-259 0 0,-93 69-1 0 0,-49 58-142 0 0,189-148 35 0 0,-39 35 12 0 0,48-42 2 0 0,1 1 0 0 0,0 0 0 0 0,0 0 0 0 0,1 0 0 0 0,-6 10 0 0 0,10-15-8 0 0,0 0 0 0 0,0 0 0 0 0,0-1 0 0 0,1 1 0 0 0,-1 0 0 0 0,0 0 0 0 0,1 0 0 0 0,-1 0 0 0 0,1 0 0 0 0,0 2 0 0 0,0-3-3 0 0,0-1 0 0 0,0 0 0 0 0,0 1 0 0 0,0-1 0 0 0,0 1 0 0 0,0-1 0 0 0,1 0 0 0 0,-1 1 0 0 0,0-1 0 0 0,0 0 0 0 0,0 0 1 0 0,1 1-1 0 0,-1-1 0 0 0,0 0 0 0 0,0 1 0 0 0,1-1 0 0 0,-1 0 0 0 0,0 0 0 0 0,1 0 0 0 0,-1 1 0 0 0,0-1 0 0 0,1 0 0 0 0,-1 0 0 0 0,1 0 0 0 0,18 1-28 0 0,5-6-6 0 0,0-1 1 0 0,-1 0 0 0 0,43-20 0 0 0,69-41 98 0 0,-100 48-38 0 0,128-74-97 0 0,58-29-398 0 0,-216 120 481 0 0,-13 6 30 0 0,-200 126 319 0 0,150-89-370 0 0,-80 72 0 0 0,130-106 14 0 0,0 0 0 0 0,1 0-1 0 0,0 1 1 0 0,0 0 0 0 0,1 0-1 0 0,0 1 1 0 0,0 0-1 0 0,-4 9 1 0 0,9-17-5 0 0,1 0 1 0 0,-1 0-1 0 0,1 0 0 0 0,0 0 0 0 0,-1 1 0 0 0,1-1 0 0 0,0 0 1 0 0,0 0-1 0 0,0 0 0 0 0,0 0 0 0 0,0 0 0 0 0,0 0 1 0 0,0 0-1 0 0,0 2 0 0 0,1-2-4 0 0,-1-1 0 0 0,1 1 0 0 0,0-1 0 0 0,0 1-1 0 0,-1 0 1 0 0,1-1 0 0 0,0 1 0 0 0,0-1 0 0 0,0 0 0 0 0,0 1 0 0 0,-1-1 0 0 0,1 0 0 0 0,0 0-1 0 0,0 1 1 0 0,0-1 0 0 0,0 0 0 0 0,0 0 0 0 0,0 0 0 0 0,0 0 0 0 0,0 0 0 0 0,1 0-1 0 0,15-1-34 0 0,0 1-1 0 0,0-2 0 0 0,-1 0 0 0 0,31-9 0 0 0,-15 1-22 0 0,51-24-1 0 0,12-10 78 0 0,-93 44-181 0 0,2-1 177 0 0</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20.230"/>
    </inkml:context>
    <inkml:brush xml:id="br0">
      <inkml:brushProperty name="width" value="0.35" units="cm"/>
      <inkml:brushProperty name="height" value="0.35" units="cm"/>
    </inkml:brush>
  </inkml:definitions>
  <inkml:trace contextRef="#ctx0" brushRef="#br0">388 883 2641 0 0,'-15'-3'8376'0'0,"14"2"-8321"0"0,0-18 1780 0 0,1 13-1995 0 0,0-303 1262 0 0,0 309-1076 0 0,0-1 0 0 0,0 1 0 0 0,0 0-1 0 0,0-1 1 0 0,0 1 0 0 0,0 0 0 0 0,0 0 0 0 0,0-1 0 0 0,-1 1 0 0 0,1 0 0 0 0,0-1-1 0 0,0 1 1 0 0,0 0 0 0 0,0-1 0 0 0,0 1 0 0 0,0 0 0 0 0,-1 0 0 0 0,1-1 0 0 0,0 1-1 0 0,0 0 1 0 0,0 0 0 0 0,-1 0 0 0 0,1-1 0 0 0,0 1 0 0 0,-1 0 0 0 0,1 0-15 0 0,0 0 1 0 0,-1 0 0 0 0,1 0 0 0 0,0 0 0 0 0,-1 0-1 0 0,1 0 1 0 0,0 1 0 0 0,-1-1 0 0 0,1 0 0 0 0,0 0-1 0 0,-1 0 1 0 0,1 1 0 0 0,0-1 0 0 0,-1 0 0 0 0,1 0-1 0 0,0 1 1 0 0,0-1 0 0 0,-1 0 0 0 0,1 1 0 0 0,0-1 0 0 0,0 0-1 0 0,0 0 1 0 0,-1 1 0 0 0,1-1 0 0 0,0 1 0 0 0,0-1-1 0 0,0 1 1 0 0,-5 11 44 0 0,0 0 0 0 0,1 0-1 0 0,-5 24 1 0 0,-5 47-68 0 0,11-61 44 0 0,-6 48 21 0 0,-2 89 1 0 0,11-158-100 0 0,0-17-282 0 0,0-85 108 0 0,-1-135 256 0 0,0 215-7 0 0,-1 0 1 0 0,-1-1-1 0 0,-1 1 0 0 0,0 0 1 0 0,-2 1-1 0 0,0-1 0 0 0,-2 1 1 0 0,0 1-1 0 0,-16-28 1 0 0,23 45 15 0 0,1 19 1 0 0,-1 7-17 0 0,2 1 0 0 0,0 0 1 0 0,9 42-1 0 0,43 171 93 0 0,-48-229-121 0 0,-1-14 1 0 0,0-14 3 0 0,-3-124 75 0 0,-1 76-72 0 0,-1 42-11 0 0,-1-1 0 0 0,-1 0 0 0 0,-7-27-1 0 0,-25-73 19 0 0,11 46-17 0 0,18 61-2 0 0,6 19 3 0 0,0 0 1 0 0,0 0-1 0 0,0 0 0 0 0,0 0 1 0 0,0 0-1 0 0,0 0 0 0 0,0 0 1 0 0,-1 0-1 0 0,1 0 1 0 0,0 0-1 0 0,0 0 0 0 0,0 0 1 0 0,0 1-1 0 0,0-1 0 0 0,0 0 1 0 0,0 0-1 0 0,0 0 1 0 0,0 0-1 0 0,0 0 0 0 0,0 0 1 0 0,0 0-1 0 0,0 0 0 0 0,0 0 1 0 0,0 0-1 0 0,-1 0 1 0 0,1 0-1 0 0,0 0 0 0 0,0 0 1 0 0,0 0-1 0 0,0 0 0 0 0,0 0 1 0 0,0 0-1 0 0,0 0 1 0 0,0 0-1 0 0,0 0 0 0 0,0 0 1 0 0,0 0-1 0 0,0 0 0 0 0,-1 0 1 0 0,1 0-1 0 0,0 0 1 0 0,0 0-1 0 0,0 0 0 0 0,0-1 1 0 0,0 1-1 0 0,0 0 0 0 0,0 0 1 0 0,0 0-1 0 0,0 0 1 0 0,0 0-1 0 0,0 0 0 0 0,0 0 1 0 0,0 0-1 0 0,0 0 0 0 0,0 0 1 0 0,0 0-1 0 0,0 0 1 0 0,0 0-1 0 0,0 33-78 0 0,3-13 87 0 0,1-1 0 0 0,1 0-1 0 0,0 0 1 0 0,10 21-1 0 0,0 1 14 0 0,12 50 6 0 0,12 34 13 0 0,-38-121-41 0 0,-1-3 2 0 0,0 0 0 0 0,0-1 0 0 0,0 1-1 0 0,0 0 1 0 0,0-1 0 0 0,0 1 0 0 0,1 0-1 0 0,-1-1 1 0 0,0 1 0 0 0,1-1 0 0 0,-1 1-1 0 0,0-1 1 0 0,1 1 0 0 0,-1 0 0 0 0,0-1 0 0 0,1 1-1 0 0,-1-1 1 0 0,1 0 0 0 0,-1 1 0 0 0,1-1-1 0 0,-1 1 1 0 0,1-1 0 0 0,-1 0 0 0 0,2 1-1 0 0,-1-4 30 0 0,-1-9 19 0 0,1-25 9 0 0,-2 1 1 0 0,-1-1-1 0 0,-2 1 1 0 0,-11-46-1 0 0,-15-8-49 0 0,-2-9-60 0 0,31 97-6 0 0,1 5 17 0 0,0 9-7 0 0,2 20-2 0 0,3-13 60 0 0,0-1-1 0 0,1 0 1 0 0,1 0-1 0 0,13 23 1 0 0,-4-8-8 0 0,5 13 14 0 0,17 37 9 0 0,-36-77-25 0 0,0 0 6 0 0,0-1-1 0 0,0 0 0 0 0,0 0 0 0 0,1 0 0 0 0,-1 0 0 0 0,1 0 0 0 0,0 0 0 0 0,5 4 0 0 0,-8-9-6 0 0,0 0 0 0 0,0 0-1 0 0,0 0 1 0 0,1 0 0 0 0,-1 1-1 0 0,0-1 1 0 0,0 0 0 0 0,1 0-1 0 0,-1 0 1 0 0,0 0 0 0 0,0 0-1 0 0,1 0 1 0 0,-1 0 0 0 0,0 1-1 0 0,0-1 1 0 0,1 0 0 0 0,-1 0-1 0 0,0 0 1 0 0,1 0 0 0 0,-1 0 0 0 0,0 0-1 0 0,0 0 1 0 0,1-1 0 0 0,-1 1-1 0 0,0 0 1 0 0,0 0 0 0 0,1 0-1 0 0,-1 0 1 0 0,0 0 0 0 0,0 0-1 0 0,1 0 1 0 0,-1-1 0 0 0,0 1-1 0 0,0 0 1 0 0,1 0 0 0 0,-1 0-1 0 0,0 0 1 0 0,0-1 0 0 0,0 1-1 0 0,0 0 1 0 0,1 0 0 0 0,-1-1 0 0 0,0 1-1 0 0,0 0 1 0 0,0 0 0 0 0,0-1-1 0 0,0 1 1 0 0,0 0 0 0 0,0 0-1 0 0,1-1 1 0 0,-1 1 0 0 0,0 0-1 0 0,0 0 1 0 0,0-1 0 0 0,0 1-1 0 0,0 0 1 0 0,0-1 0 0 0,0 1-1 0 0,-1 0 1 0 0,1 0 0 0 0,0-1 0 0 0,0 1-1 0 0,0-1-3 0 0,4-20 10 0 0,-2-1-1 0 0,0 1 1 0 0,-1-1-1 0 0,-3-21 1 0 0,1 2 4 0 0,1-158-59 0 0,2 240 37 0 0,9 67 0 0 0,2 24 59 0 0,-5-31-24 0 0,-6-92 1 0 0,1-9-29 0 0,-1-8-22 0 0,1-18 25 0 0,-1 0 0 0 0,-3-43 1 0 0,0 23 6 0 0,2 27-5 0 0,-1 0 1 0 0,-1 0 0 0 0,-2-22 0 0 0,1 35-1 0 0,1 0 0 0 0,-1-1 1 0 0,1 1-1 0 0,-2 1 0 0 0,1-1 0 0 0,-1 0 0 0 0,0 0 1 0 0,0 1-1 0 0,0 0 0 0 0,-7-8 0 0 0,7 9 5 0 0,-1 0-1 0 0,1 0 1 0 0,-1 0 0 0 0,-1 0-1 0 0,1 1 1 0 0,-7-5-1 0 0,10 8-3 0 0,0 0 0 0 0,0-1 0 0 0,0 1 0 0 0,0-1 0 0 0,0 1 0 0 0,0 0 0 0 0,1 0-1 0 0,-1-1 1 0 0,0 1 0 0 0,0 0 0 0 0,0 0 0 0 0,0 0 0 0 0,0 0 0 0 0,0 0-1 0 0,0 0 1 0 0,0 1 0 0 0,0-1 0 0 0,0 0 0 0 0,0 0 0 0 0,0 1 0 0 0,0-1-1 0 0,0 0 1 0 0,0 1 0 0 0,0-1 0 0 0,0 1 0 0 0,1-1 0 0 0,-1 1 0 0 0,0 0-1 0 0,0-1 1 0 0,1 1 0 0 0,-1 0 0 0 0,0 0 0 0 0,1-1 0 0 0,-1 1 0 0 0,1 0 0 0 0,-1 0-1 0 0,1 0 1 0 0,-1 0 0 0 0,1 0 0 0 0,-1-1 0 0 0,1 1 0 0 0,0 2 0 0 0,-9 21-16 0 0,1 0 0 0 0,1 0 0 0 0,2 1 0 0 0,0 0 0 0 0,2 0 0 0 0,-1 44 1 0 0,4-68-5 0 0,-1-26-3 0 0,0 0 1 0 0,2 0-1 0 0,1 0 1 0 0,1 0-1 0 0,9-32 0 0 0,-6 25 65 0 0,-1 0-1 0 0,2-46 0 0 0,-7 68-37 0 0,1 14-53 0 0,2 12-18 0 0,-1-8 46 0 0,1 5 30 0 0,0-1 1 0 0,1 0-1 0 0,0 0 0 0 0,10 19 1 0 0,-14-31-12 0 0,0 0 0 0 0,0 0 0 0 0,0 1 1 0 0,0-1-1 0 0,0 0 0 0 0,0 0 0 0 0,0 0 0 0 0,1 1 0 0 0,-1-1 1 0 0,0 0-1 0 0,0 0 0 0 0,0 1 0 0 0,0-1 0 0 0,1 0 1 0 0,-1 0-1 0 0,0 0 0 0 0,0 0 0 0 0,0 0 0 0 0,1 1 0 0 0,-1-1 1 0 0,0 0-1 0 0,0 0 0 0 0,1 0 0 0 0,-1 0 0 0 0,0 0 1 0 0,0 0-1 0 0,1 0 0 0 0,-1 0 0 0 0,0 0 0 0 0,0 0 1 0 0,1 0-1 0 0,-1 0 0 0 0,0 0 0 0 0,1 0 0 0 0,-1 0 0 0 0,0 0 1 0 0,0 0-1 0 0,1 0 0 0 0,-1 0 0 0 0,0 0 0 0 0,0 0 1 0 0,0 0-1 0 0,1-1 0 0 0,-1 1 0 0 0,0 0 0 0 0,0 0 0 0 0,1 0 1 0 0,-1 0-1 0 0,0-1 0 0 0,0 1 0 0 0,0 0 0 0 0,0 0 1 0 0,1-1-1 0 0,5-12-65 0 0,1-29 118 0 0,-2-1 0 0 0,-1-55-1 0 0,-4 98-54 0 0,0 4 38 0 0,-10 205-222 0 0,8-171 188 0 0,0 1 0 0 0,3-1 0 0 0,1 0-1 0 0,2 1 1 0 0,2-1 0 0 0,10 38 0 0 0,-3-21 20 0 0,26 91 11 0 0,-33-128-29 0 0,0-1-1 0 0,2 0 0 0 0,0-1 0 0 0,1 0 1 0 0,0 0-1 0 0,14 15 0 0 0,-20-27-16 0 0,0 0-1 0 0,1 0 1 0 0,0-1 0 0 0,-1 1-1 0 0,1-1 1 0 0,1 0-1 0 0,-1 0 1 0 0,0-1 0 0 0,1 1-1 0 0,-1-1 1 0 0,7 3-1 0 0,-8-5-26 0 0,-1 1-1 0 0,1-1 1 0 0,-1 1-1 0 0,1-1 0 0 0,-1 0 1 0 0,1 0-1 0 0,-1 0 1 0 0,1 0-1 0 0,-1 0 0 0 0,1-1 1 0 0,-1 1-1 0 0,0-1 1 0 0,1 0-1 0 0,-1 1 1 0 0,0-1-1 0 0,1 0 0 0 0,-1 0 1 0 0,0-1-1 0 0,0 1 1 0 0,0 0-1 0 0,0-1 1 0 0,0 1-1 0 0,0-1 0 0 0,0 0 1 0 0,1-1-1 0 0,9-12 25 0 0,-1 1-1 0 0,-1-2 0 0 0,14-27 1 0 0,-12 21 4 0 0,17-25 0 0 0,-29 47 13 0 0,0 1 0 0 0,0-1 0 0 0,0 0 0 0 0,0 0 0 0 0,0 0 0 0 0,0 0-1 0 0,0 0 1 0 0,0 0 0 0 0,0 0 0 0 0,0 0 0 0 0,0 0 0 0 0,0 0 0 0 0,0 0 0 0 0,0 0 0 0 0,0 0 0 0 0,0 1-1 0 0,0-1 1 0 0,0 0 0 0 0,0 0 0 0 0,0 0 0 0 0,0 0 0 0 0,0 0 0 0 0,0 0 0 0 0,0 0 0 0 0,0 0 0 0 0,0 0-1 0 0,0 0 1 0 0,0 0 0 0 0,0 0 0 0 0,0 0 0 0 0,1 0 0 0 0,-1 0 0 0 0,0 0 0 0 0,0 1 0 0 0,0-1 0 0 0,0 0-1 0 0,0 0 1 0 0,0 0 0 0 0,0 0 0 0 0,0 0 0 0 0,0 0 0 0 0,0 0 0 0 0,0 0 0 0 0,0 0 0 0 0,0 0 0 0 0,1 0 0 0 0,-1 0-1 0 0,0 0 1 0 0,0 0 0 0 0,0 0 0 0 0,0 0 0 0 0,0 0 0 0 0,0 0 0 0 0,0 0 0 0 0,0-1 0 0 0,0 1 0 0 0,0 0-1 0 0,0 0 1 0 0,0 0 0 0 0,0 0 0 0 0,1 0 0 0 0,-1 0 0 0 0,0 0 0 0 0,0 0 0 0 0,0 10 41 0 0,0 346 524 0 0,0-355-586 0 0,3-4-40 0 0,105-132 323 0 0,3-4-177 0 0,-110 138-85 0 0,0 0 3 0 0,0-1 1 0 0,0 1-1 0 0,0-1 0 0 0,0 0 0 0 0,0 0 1 0 0,0 0-1 0 0,0 1 0 0 0,0-1 1 0 0,-1 0-1 0 0,1 0 0 0 0,0-4 1 0 0,-5 5 78 0 0,0 1-76 0 0,-1 1 0 0 0,1 0 0 0 0,0 0 0 0 0,-1 0 0 0 0,1 1 0 0 0,0-1 0 0 0,0 1 0 0 0,-1 0 0 0 0,2 0 0 0 0,-5 3 0 0 0,-2 0-24 0 0,-92 57-68 0 0,-144 115-1 0 0,122-83 60 0 0,118-89 42 0 0,0-1 29 0 0,1 0 1 0 0,-1 0-1 0 0,0-1 1 0 0,-9 5 0 0 0,15-8-37 0 0,0 0 0 0 0,0-1 0 0 0,0 1 0 0 0,0 0 0 0 0,1 0 0 0 0,-1 0 0 0 0,0 0 1 0 0,0 0-1 0 0,0-1 0 0 0,0 1 0 0 0,0 0 0 0 0,0 0 0 0 0,0 0 0 0 0,0 0 0 0 0,0-1 0 0 0,0 1 1 0 0,0 0-1 0 0,0 0 0 0 0,0 0 0 0 0,0 0 0 0 0,-1 0 0 0 0,1-1 0 0 0,0 1 0 0 0,0 0 0 0 0,0 0 1 0 0,0 0-1 0 0,0 0 0 0 0,0 0 0 0 0,0-1 0 0 0,0 1 0 0 0,0 0 0 0 0,-1 0 0 0 0,1 0 0 0 0,0 0 0 0 0,0 0 1 0 0,0 0-1 0 0,0 0 0 0 0,0 0 0 0 0,0 0 0 0 0,-1 0 0 0 0,1-1 0 0 0,0 1 0 0 0,0 0 0 0 0,0 0 1 0 0,0 0-1 0 0,0 0 0 0 0,-1 0 0 0 0,1 0 0 0 0,0 0 0 0 0,0 0 0 0 0,0 0 0 0 0,0 0 0 0 0,-1 0 1 0 0,1 0-1 0 0,0 0 0 0 0,0 1 0 0 0,0-1 0 0 0,0 0 0 0 0,0 0 0 0 0,-1 0 0 0 0,1 0 0 0 0,0 0 1 0 0,0 0-1 0 0,0 0 0 0 0,0 0 0 0 0,-1 1 0 0 0,1-4 25 0 0,0-6-20 0 0,0 0 1 0 0,1 0-1 0 0,-1-1 0 0 0,2 1 1 0 0,-1 0-1 0 0,1 0 0 0 0,1 0 1 0 0,-1 0-1 0 0,6-10 0 0 0,19-29 27 0 0,62-84-1 0 0,-50 78-32 0 0,-30 37-38 0 0,-9 17 31 0 0,0 0-1 0 0,0 0 0 0 0,0 0 1 0 0,0 0-1 0 0,0 0 0 0 0,0 0 1 0 0,0 0-1 0 0,0 0 0 0 0,0 0 1 0 0,0 0-1 0 0,0 0 1 0 0,0 0-1 0 0,0 0 0 0 0,-1 0 1 0 0,1 0-1 0 0,0 0 0 0 0,0 0 1 0 0,0 0-1 0 0,0 0 0 0 0,0 0 1 0 0,0 0-1 0 0,0 0 0 0 0,0 0 1 0 0,0 0-1 0 0,0 0 0 0 0,0 0 1 0 0,0 0-1 0 0,0 0 0 0 0,0 0 1 0 0,0 0-1 0 0,0 0 0 0 0,0 0 1 0 0,0 0-1 0 0,-1-1 0 0 0,1 1 1 0 0,0 0-1 0 0,0 0 0 0 0,0 0 1 0 0,0 0-1 0 0,0 0 0 0 0,0 0 1 0 0,0 0-1 0 0,0 0 0 0 0,0 0 1 0 0,0 0-1 0 0,0 0 0 0 0,0 0 1 0 0,0 0-1 0 0,0 0 0 0 0,0 0 1 0 0,0 0-1 0 0,0-1 0 0 0,0 1 1 0 0,0 0-1 0 0,0 0 0 0 0,0 0 1 0 0,0 0-1 0 0,0 0 0 0 0,0 0 1 0 0,0 0-1 0 0,0 0 0 0 0,0 0 1 0 0,1 0-1 0 0,-1 0 0 0 0,0 0 1 0 0,0 0-1 0 0,0 0 0 0 0,0 0 1 0 0,0 0-1 0 0,-10 8 11 0 0,-39 43-19 0 0,-130 143-131 0 0,150-161 125 0 0,14-18 22 0 0,2 1-1 0 0,-23 35 1 0 0,35-50-11 0 0,1 0 1 0 0,-1 0 0 0 0,1 0-1 0 0,-1 0 1 0 0,1 0-1 0 0,-1 0 1 0 0,1 0 0 0 0,0 1-1 0 0,-1-1 1 0 0,1 0-1 0 0,0 0 1 0 0,0 2-1 0 0,5 0-103 0 0,8-6-24 0 0,16-11 78 0 0,-1-1 0 0 0,0-1 0 0 0,30-24-1 0 0,-5 4 62 0 0,86-57 63 0 0,63-41 45 0 0,-139 96-106 0 0,86-38 1 0 0,-140 72-12 0 0,-3 1-1 0 0,0 0-1 0 0,0 0 1 0 0,0 1 0 0 0,1 0-1 0 0,-1 0 1 0 0,1 1 0 0 0,-1 0 0 0 0,13-1-1 0 0,-18 2 2 0 0,-1 0 0 0 0,0 0-1 0 0,1 0 1 0 0,-1 0 0 0 0,1 0-1 0 0,-1 0 1 0 0,0 0 0 0 0,1 0-1 0 0,-1 0 1 0 0,1 0 0 0 0,-1 0-1 0 0,1 1 1 0 0,-1-1 0 0 0,0 0-1 0 0,1 0 1 0 0,-1 0 0 0 0,0 1-1 0 0,1-1 1 0 0,-1 0 0 0 0,0 0-1 0 0,1 1 1 0 0,-1-1 0 0 0,0 0-1 0 0,0 1 1 0 0,1-1 0 0 0,-1 0-1 0 0,0 1 1 0 0,0-1 0 0 0,1 1-1 0 0,-1-1 1 0 0,0 0 0 0 0,0 1-1 0 0,0-1 1 0 0,0 1 0 0 0,0-1-1 0 0,1 7 12 0 0,0-1-1 0 0,-1 0 1 0 0,1 1-1 0 0,-2-1 0 0 0,1 0 1 0 0,-1 1-1 0 0,0-1 0 0 0,0 0 1 0 0,0 0-1 0 0,-1 0 1 0 0,0 1-1 0 0,-1-2 0 0 0,1 1 1 0 0,-1 0-1 0 0,-4 6 0 0 0,-9 13 37 0 0,0-2 0 0 0,-23 25 0 0 0,26-31-45 0 0,-195 210 28 0 0,32-38-53 0 0,151-157 29 0 0,21-23-7 0 0,5-6-17 0 0,4-7-66 0 0,368-320-37 0 0,-300 264 134 0 0,350-263 444 0 0,-401 308-484 0 0,40-21 0 0 0,-62 36 27 0 0,0 0 0 0 0,0 0-1 0 0,-1 1 1 0 0,1-1-1 0 0,0 0 1 0 0,0 0 0 0 0,0 0-1 0 0,0 0 1 0 0,0 0-1 0 0,0 0 1 0 0,0 1 0 0 0,0-1-1 0 0,0 0 1 0 0,0 0-1 0 0,0 0 1 0 0,0 0 0 0 0,0 0-1 0 0,1 0 1 0 0,-1 1-1 0 0,0-1 1 0 0,0 0 0 0 0,0 0-1 0 0,0 0 1 0 0,0 0-1 0 0,0 0 1 0 0,0 0 0 0 0,0 0-1 0 0,0 0 1 0 0,0 1-1 0 0,0-1 1 0 0,0 0 0 0 0,1 0-1 0 0,-1 0 1 0 0,0 0-1 0 0,0 0 1 0 0,0 0 0 0 0,0 0-1 0 0,0 0 1 0 0,0 0-1 0 0,0 0 1 0 0,1 0 0 0 0,-1 0-1 0 0,0 0 1 0 0,0 0-1 0 0,0 0 1 0 0,0 0 0 0 0,0 0-1 0 0,0 0 1 0 0,1 0-1 0 0,-1 0 1 0 0,0 0 0 0 0,0 0-1 0 0,0 0 1 0 0,0 0-1 0 0,0 0 1 0 0,0 0 0 0 0,1 0-1 0 0,-1 0 1 0 0,0 0-1 0 0,0 0 1 0 0,0 0 0 0 0,0-1-1 0 0,0 5 7 0 0,0 0-1 0 0,-1-1 0 0 0,1 1 0 0 0,-1-1 1 0 0,0 0-1 0 0,0 1 0 0 0,0-1 0 0 0,-1 0 1 0 0,1 1-1 0 0,-4 4 0 0 0,-26 32 112 0 0,28-36-108 0 0,-260 267 327 0 0,188-198-345 0 0,-265 275-107 0 0,309-310 85 0 0,29-33 14 0 0,13-16-37 0 0,-1 0 8 0 0,280-247 11 0 0,-134 123 123 0 0,181-153 78 0 0,-222 190-234 0 0,-96 82 38 0 0,-7 5-15 0 0,26-17 0 0 0,-35 27 13 0 0,-2 7 13 0 0,-2-3 28 0 0,1 1 1 0 0,-1 0-1 0 0,1 0 1 0 0,-1 0-1 0 0,0 0 1 0 0,0 0-1 0 0,-1 0 1 0 0,1-1-1 0 0,-1 1 1 0 0,0-1-1 0 0,-2 5 1 0 0,-5 4 50 0 0,-20 22 1 0 0,-338 326 149 0 0,38-41-327 0 0,316-306 116 0 0,9-9-4 0 0,0 0 1 0 0,0 1 0 0 0,1-1-1 0 0,-1 1 1 0 0,1 0-1 0 0,0 0 1 0 0,-4 8-1 0 0,18-24-90 0 0,218-173-129 0 0,-63 54 376 0 0,314-260 204 0 0,-470 382-368 0 0,-2 0-1 0 0,1 2 1 0 0,19-12-1 0 0,-26 17-1 0 0,-2 6 20 0 0,0-2 12 0 0,0 1 1 0 0,-1-1-1 0 0,1 0 0 0 0,-1 1 1 0 0,0-1-1 0 0,0 0 1 0 0,0 0-1 0 0,0 0 1 0 0,-1 0-1 0 0,1 0 1 0 0,-3 3-1 0 0,-27 34 205 0 0,29-38-213 0 0,-230 238 205 0 0,-17-16-176 0 0,19-16-109 0 0,208-186 51 0 0,29-26-90 0 0,42-35-104 0 0,665-533 451 0 0,-482 394-187 0 0,4 21-145 0 0,-193 135 66 0 0,-31 20-5 0 0,-8 6 17 0 0,-4-3 18 0 0,-1 1 0 0 0,1 0 1 0 0,0-1-1 0 0,-1 1 0 0 0,1-1 0 0 0,0 1 0 0 0,-1-1 0 0 0,0 0 0 0 0,1 1 0 0 0,-1-1 0 0 0,-1 2 0 0 0,-14 19 44 0 0,-1-1 0 0 0,0 0 0 0 0,-38 33 0 0 0,52-51-43 0 0,-618 611 185 0 0,609-602-188 0 0,-10 10 5 0 0,1 2 1 0 0,-25 33 0 0 0,45-54-4 0 0,-4 4-11 0 0,8-10-35 0 0,14-16-120 0 0,206-171-276 0 0,-129 114 463 0 0,104-84-31 0 0,220-133 0 0 0,-365 262 17 0 0,-50 30-10 0 0,13-5 1 0 0,-16 5 0 0 0,0 1 0 0 0,0 0 0 0 0,1 0 0 0 0,-1 0 0 0 0,0 0 0 0 0,0 0 0 0 0,1 0 0 0 0,-1 0 0 0 0,0 0 0 0 0,0 0 0 0 0,0 0 0 0 0,1 0 0 0 0,-1 1 0 0 0,0-1 0 0 0,0 0 0 0 0,0 0 0 0 0,1 0 0 0 0,-1 0 0 0 0,0 0 0 0 0,0 0 0 0 0,0 0 0 0 0,0 1 0 0 0,1-1 0 0 0,-1 0 0 0 0,0 0 0 0 0,0 0 0 0 0,0 0 0 0 0,0 0 0 0 0,0 1 0 0 0,1-1 0 0 0,-1 0 0 0 0,0 0 0 0 0,0 0 0 0 0,0 1 0 0 0,0-1 0 0 0,0 0 0 0 0,0 0 0 0 0,0 0 0 0 0,0 1 0 0 0,0-1 0 0 0,0 0 0 0 0,0 0 0 0 0,0 1 0 0 0,0-1 0 0 0,0 0 0 0 0,0 0 0 0 0,0 0 0 0 0,0 1 0 0 0,0-1 0 0 0,0 0 0 0 0,0 0 0 0 0,0 0 0 0 0,0 1 0 0 0,0-1 0 0 0,-1 0 0 0 0,1 0 0 0 0,0 0 0 0 0,0 1 0 0 0,0-1 0 0 0,0 0 0 0 0,0 0 0 0 0,-1 0 0 0 0,1 0 0 0 0,-4 8 19 0 0,1 0-1 0 0,-1-1 1 0 0,-1 0-1 0 0,0 0 1 0 0,-9 11 0 0 0,-39 34 52 0 0,-175 153 63 0 0,-98 90-109 0 0,291-259-18 0 0,29-28-24 0 0,8-8 4 0 0,18-16-72 0 0,224-164-175 0 0,-170 128 282 0 0,70-49 13 0 0,205-108-1 0 0,-345 208-34 0 0,18-11-5 0 0,0 2 0 0 0,29-10 0 0 0,-51 20 6 0 0,0 0-1 0 0,0 0 0 0 0,0-1 1 0 0,0 1-1 0 0,0 0 0 0 0,0 0 0 0 0,1 0 1 0 0,-1 0-1 0 0,0 0 0 0 0,0 0 1 0 0,0 0-1 0 0,0-1 0 0 0,1 1 1 0 0,-1 0-1 0 0,0 0 0 0 0,0 0 1 0 0,0 0-1 0 0,1 0 0 0 0,-1 0 1 0 0,0 0-1 0 0,0 0 0 0 0,0 0 1 0 0,0 0-1 0 0,1 0 0 0 0,-1 0 1 0 0,0 0-1 0 0,0 0 0 0 0,0 0 1 0 0,1 0-1 0 0,-1 0 0 0 0,0 0 0 0 0,0 1 1 0 0,0-1-1 0 0,0 0 0 0 0,1 0 1 0 0,-1 0-1 0 0,0 0 0 0 0,0 0 1 0 0,0 0-1 0 0,0 0 0 0 0,0 1 1 0 0,1-1-1 0 0,-1 0 0 0 0,0 0 1 0 0,0 0-1 0 0,0 0 0 0 0,0 1 1 0 0,0-1-1 0 0,0 0 0 0 0,0 0 1 0 0,0 0-1 0 0,0 0 0 0 0,0 1 1 0 0,0-1-1 0 0,1 2 8 0 0,-1-1 0 0 0,0 1 0 0 0,-1-1 0 0 0,1 1 0 0 0,0-1 0 0 0,0 1-1 0 0,-1-1 1 0 0,1 1 0 0 0,-1-1 0 0 0,1 0 0 0 0,-1 1 0 0 0,1-1 0 0 0,-1 0 0 0 0,-1 3 0 0 0,-11 12 61 0 0,-1 0 1 0 0,-1-1 0 0 0,0-1-1 0 0,-19 15 1 0 0,21-19-60 0 0,-71 62 36 0 0,-144 118 33 0 0,217-181-76 0 0,-6 4 18 0 0,-22 23 1 0 0,67-48-254 0 0,145-96 163 0 0,-32 18 120 0 0,158-73 0 0 0,-293 160-54 0 0,-1 1 0 0 0,1 0 0 0 0,0 0 0 0 0,0 0 0 0 0,8-1 0 0 0,-12 3 28 0 0,-2 1 34 0 0,0 3-18 0 0,0 0 0 0 0,-1 0 0 0 0,1 0-1 0 0,-1 0 1 0 0,0 0 0 0 0,0-1-1 0 0,-1 1 1 0 0,1 0 0 0 0,-1-1-1 0 0,0 1 1 0 0,-3 4 0 0 0,-2 3-37 0 0,-2-1 0 0 0,-10 11 1 0 0,4-4 32 0 0,-203 221 74 0 0,212-232-114 0 0,5-5 2 0 0,-1 1 0 0 0,1-1 1 0 0,0 0-1 0 0,0 0 0 0 0,0 1 0 0 0,0-1 0 0 0,0 0 0 0 0,0 1 0 0 0,0-1 0 0 0,1 1 0 0 0,-1-1 0 0 0,1 1 0 0 0,-1-1 0 0 0,1 1 0 0 0,-1 3 0 0 0,9-8-62 0 0,46-24 6 0 0,58-39 0 0 0,51-47 270 0 0,-103 71-169 0 0,10-8 7 0 0,-26 17-108 0 0,58-33-1 0 0,-93 63 39 0 0,-6 7 22 0 0,-7 13 43 0 0,-4-5-22 0 0,0 0 0 0 0,-1-1 0 0 0,0 0 0 0 0,-1 0 0 0 0,-15 13 0 0 0,21-20-20 0 0,-413 364 40 0 0,396-350-49 0 0,3-4-8 0 0,0 1 0 0 0,-17 21 0 0 0,31-30 24 0 0,8-6-15 0 0,2-2-26 0 0,0 0 0 0 0,0-1 0 0 0,0 0 0 0 0,5-3 0 0 0,449-290-164 0 0,-455 292 193 0 0,5-2 0 0 0,337-219-28 0 0,-318 209 22 0 0,-21 14 2 0 0,-9 8 40 0 0,1-3-19 0 0,-3 5-4 0 0,-1 0 0 0 0,0-1-1 0 0,0 1 1 0 0,0-1 0 0 0,-1 0 0 0 0,0-1 0 0 0,0 1 0 0 0,-1-1 0 0 0,-9 9 0 0 0,-74 78 66 0 0,-266 283-135 0 0,342-362 51 0 0,1 1 1 0 0,0 0-1 0 0,1 0 1 0 0,-12 22 0 0 0,21-30-11 0 0,7-7-84 0 0,9-6-12 0 0,-1 1 0 0 0,0-2 0 0 0,0 1 0 0 0,0-2 0 0 0,-1 0 0 0 0,11-9 0 0 0,8-5 29 0 0,626-475 171 0 0,-621 468-88 0 0,-10 9-10 0 0,-49 47 817 0 0,-94 77-507 0 0,32-31-294 0 0,-800 798-854 0 0,866-851 818 0 0,-25 25-5 0 0,-40 54-1 0 0,63-64 27 0 0,22-32-282 0 0,5-4 99 0 0,12-10-115 0 0,58-44 199 0 0,74-69 0 0 0,64-79 90 0 0,-199 189-7 0 0,-8 8 0 0 0,0-1-1 0 0,0 0 1 0 0,-1 0 0 0 0,0-1-1 0 0,7-10 1 0 0,-13 17 30 0 0,3-5-34 0 0,-5 5 57 0 0,-6 5 89 0 0,-480 348 234 0 0,-246 296-193 0 0,708-622-133 0 0,-36 29 51 0 0,62-55-74 0 0,0 0 0 0 0,0 0-1 0 0,0 1 1 0 0,0-1 0 0 0,0 0 0 0 0,0 0 0 0 0,0 0 0 0 0,0 0 0 0 0,-1 1 0 0 0,1-1 0 0 0,0 0 0 0 0,0 0 0 0 0,0 0-1 0 0,0 0 1 0 0,0 0 0 0 0,-1 1 0 0 0,1-1 0 0 0,0 0 0 0 0,0 0 0 0 0,0 0 0 0 0,0 0 0 0 0,-1 0 0 0 0,1 0-1 0 0,0 0 1 0 0,0 0 0 0 0,0 0 0 0 0,-1 0 0 0 0,1 0 0 0 0,0 0 0 0 0,0 0 0 0 0,0 0 0 0 0,-1 0 0 0 0,1 0-1 0 0,0 0 1 0 0,0 0 0 0 0,0 0 0 0 0,-1 0 0 0 0,1 0 0 0 0,0 0 0 0 0,0 0 0 0 0,0 0 0 0 0,-1 0 0 0 0,1-1 0 0 0,0 1-1 0 0,0 0 1 0 0,0 0 0 0 0,0 0 0 0 0,0 0 0 0 0,-1 0 0 0 0,1-1 0 0 0,0 1 0 0 0,0 0 0 0 0,0 0 0 0 0,0 0-1 0 0,0 0 1 0 0,0-1 0 0 0,0 1 0 0 0,0 0 0 0 0,0 0 0 0 0,-1 0 0 0 0,1 0 0 0 0,0-1 0 0 0,0 1 0 0 0,0 0-1 0 0,0-4 5 0 0,0 0 0 0 0,-1 0 0 0 0,1 1-1 0 0,1-1 1 0 0,-1 0 0 0 0,0 0-1 0 0,1 1 1 0 0,0-1 0 0 0,0 1-1 0 0,0-1 1 0 0,2-4 0 0 0,23-42-16 0 0,-24 46 11 0 0,223-322-131 0 0,-120 193 108 0 0,138-136 1 0 0,-239 266 33 0 0,-6 10 23 0 0,-13 14 49 0 0,-116 104 74 0 0,65-65-151 0 0,-126 131 19 0 0,1-1 38 0 0,169-172-37 0 0,22-18-25 0 0,0 0 0 0 0,0 0-1 0 0,0 0 1 0 0,0 0 0 0 0,0 0 0 0 0,0 0-1 0 0,0 0 1 0 0,0-1 0 0 0,0 1-1 0 0,0 0 1 0 0,0 0 0 0 0,0 0 0 0 0,0 0-1 0 0,0 0 1 0 0,0 0 0 0 0,-1 0-1 0 0,1 0 1 0 0,0 0 0 0 0,0-1 0 0 0,0 1-1 0 0,0 0 1 0 0,0 0 0 0 0,0 0 0 0 0,0 0-1 0 0,0 0 1 0 0,0 0 0 0 0,0 0-1 0 0,-1 0 1 0 0,1 0 0 0 0,0 0 0 0 0,0 0-1 0 0,0 0 1 0 0,0 0 0 0 0,0 0-1 0 0,0 0 1 0 0,0 0 0 0 0,0 0 0 0 0,-1 0-1 0 0,1 0 1 0 0,0 0 0 0 0,0 0-1 0 0,0 0 1 0 0,0 0 0 0 0,0 0 0 0 0,0 0-1 0 0,0 0 1 0 0,0 0 0 0 0,-1 0-1 0 0,1 0 1 0 0,0 0 0 0 0,0 0 0 0 0,1-7-6 0 0,0-1 1 0 0,0 1 0 0 0,1-1 0 0 0,0 1 0 0 0,0 0-1 0 0,1-1 1 0 0,0 1 0 0 0,0 0 0 0 0,1 1-1 0 0,6-11 1 0 0,-8 13 3 0 0,169-244-100 0 0,-146 214 98 0 0,144-184-40 0 0,-148 188 54 0 0,-19 24 10 0 0,-3 5 15 0 0,-11 9 85 0 0,11-7-105 0 0,-306 246 351 0 0,-132 94-251 0 0,433-336-108 0 0,0 0-1 0 0,-1-1 1 0 0,0 0-1 0 0,1-1 1 0 0,-1 1-1 0 0,0-1 0 0 0,-1 0 1 0 0,1-1-1 0 0,-8 2 1 0 0,10-6 16 0 0,5-5 0 0 0,0-2-33 0 0,1 0 1 0 0,1 0-1 0 0,0 1 0 0 0,0-1 1 0 0,1 1-1 0 0,0-1 0 0 0,0 1 1 0 0,1 0-1 0 0,0 0 1 0 0,7-10-1 0 0,11-14-83 0 0,27-32 0 0 0,-28 38 67 0 0,-8 10 12 0 0,3-5-20 0 0,0 1 0 0 0,1 1 1 0 0,21-17-1 0 0,-27 30-24 0 0,-9 8 32 0 0,-7 6 56 0 0,-5 6-10 0 0,-1-1 0 0 0,0-1 0 0 0,-25 22 0 0 0,-48 33 0 0 0,55-45-17 0 0,-5 4 14 0 0,-1-1 0 0 0,-1-1 0 0 0,-40 19 0 0 0,76-43-15 0 0,0 1-1 0 0,-1-1 0 0 0,1 0 0 0 0,-1 1 0 0 0,1-1 0 0 0,-1 0 0 0 0,1 0 1 0 0,-1 1-1 0 0,1-1 0 0 0,-1 0 0 0 0,1 0 0 0 0,-1 0 0 0 0,0 0 1 0 0,1 0-1 0 0,-1 0 0 0 0,1 0 0 0 0,-1 0 0 0 0,1 0 0 0 0,-1 0 0 0 0,1 0 1 0 0,-1 0-1 0 0,0 0 0 0 0,1 0 0 0 0,-1 0 0 0 0,1 0 0 0 0,-1-1 1 0 0,1 1-1 0 0,-1 0 0 0 0,1 0 0 0 0,-1-1 0 0 0,1 1 0 0 0,-1 0 0 0 0,1-1 1 0 0,-1 0-1 0 0,1 0-1 0 0,-1-1 0 0 0,1 0 0 0 0,0 1 1 0 0,-1-1-1 0 0,1 0 0 0 0,0 1 1 0 0,0-1-1 0 0,0 0 0 0 0,1-2 0 0 0,-1-6-57 0 0,4-47-29 0 0,-8 62 125 0 0,-22 22-9 0 0,-1 0-1 0 0,-47 35 1 0 0,29-26-22 0 0,20-13-6 0 0,14-13 3 0 0,0-1 0 0 0,0 0-1 0 0,0 0 1 0 0,-1-1 0 0 0,-20 10 0 0 0,31-18-5 0 0,1 1 1 0 0,-1-1 0 0 0,1 0-1 0 0,-1 0 1 0 0,1 1-1 0 0,-1-1 1 0 0,1 0-1 0 0,-1 0 1 0 0,0 0 0 0 0,1 0-1 0 0,-1 1 1 0 0,1-1-1 0 0,-1 0 1 0 0,0 0-1 0 0,1 0 1 0 0,-1-1 0 0 0,1 1-1 0 0,-1 0 1 0 0,-1 0-1 0 0,2-1 3 0 0,-1 0-1 0 0,1 0 0 0 0,-1 0 1 0 0,1 0-1 0 0,0 0 0 0 0,0 1 1 0 0,-1-1-1 0 0,1 0 1 0 0,0 0-1 0 0,0 0 0 0 0,0 0 1 0 0,0 0-1 0 0,0 0 0 0 0,0 0 1 0 0,0-1-1 0 0,1-7-9 0 0,-1 1 1 0 0,1 0-1 0 0,1 0 0 0 0,0 0 1 0 0,0 0-1 0 0,0 0 0 0 0,1 0 1 0 0,4-7-1 0 0,37-62-207 0 0,-29 53 181 0 0,176-235-18 0 0,-167 229 31 0 0,-14 18-14 0 0,-19 24-52 0 0,-21 18 118 0 0,-49 39 0 0 0,26-25-21 0 0,51-42-12 0 0,-424 343 37 0 0,417-338-38 0 0,5-3 4 0 0,-1 0 0 0 0,0-1-1 0 0,-1 0 1 0 0,1 0 0 0 0,0 0 0 0 0,-1 0-1 0 0,0-1 1 0 0,-10 3 0 0 0,15-4-2 0 0,1-1 0 0 0,0 0 0 0 0,-1 0 1 0 0,1 0-1 0 0,0 0 0 0 0,-1 0 0 0 0,1 0 0 0 0,0 0 0 0 0,-1 0 1 0 0,1 0-1 0 0,0 0 0 0 0,-1 0 0 0 0,1 0 0 0 0,0 0 0 0 0,-1 0 0 0 0,1 0 1 0 0,0 0-1 0 0,-1-1 0 0 0,1 1 0 0 0,0 0 0 0 0,-1 0 0 0 0,1 0 1 0 0,0 0-1 0 0,-1-1 0 0 0,1 1 0 0 0,0 0 0 0 0,0 0 0 0 0,-1-1 0 0 0,1 1 1 0 0,0 0-1 0 0,0-1 0 0 0,0 1 0 0 0,-1 0 0 0 0,1 0 0 0 0,0-1 1 0 0,0 1-1 0 0,0 0 0 0 0,0-1 0 0 0,0 1 0 0 0,0 0 0 0 0,-1-1 0 0 0,1 1 1 0 0,0-1-1 0 0,-1-8-17 0 0,1 0 0 0 0,-1 0 0 0 0,1 0 0 0 0,1-1 1 0 0,0 1-1 0 0,0 0 0 0 0,1 0 0 0 0,0 0 0 0 0,0 1 1 0 0,8-18-1 0 0,7-13-103 0 0,23-39-1 0 0,-27 54 141 0 0,103-188-51 0 0,-112 205 32 0 0,0 0 0 0 0,0 0 0 0 0,-1 0 0 0 0,-1 0 0 0 0,1-1 0 0 0,2-13 0 0 0,-5 21-1 0 0,0-1 1 0 0,1 1-1 0 0,-1 0 1 0 0,0-1-1 0 0,0 1 1 0 0,0-1-1 0 0,0 1 1 0 0,0 0-1 0 0,0-1 1 0 0,0 1-1 0 0,0-1 1 0 0,0 1-1 0 0,0 0 1 0 0,0-1-1 0 0,-1 1 1 0 0,1 0-1 0 0,0-1 1 0 0,0 1-1 0 0,0 0 1 0 0,0-1-1 0 0,-1 1 1 0 0,1 0 0 0 0,0-1-1 0 0,-1 0 1 0 0,-12 5 112 0 0,-10 7-127 0 0,1 2 1 0 0,0 0-1 0 0,-38 32 1 0 0,32-24 0 0 0,-270 233-6 0 0,176-146 18 0 0,114-100 4 0 0,-2 0 1 0 0,1-1 0 0 0,-19 10-1 0 0,28-16-3 0 0,-1-1-1 0 0,1 0 0 0 0,0 0 1 0 0,0 0-1 0 0,0 0 0 0 0,0 0 1 0 0,0 0-1 0 0,0 0 1 0 0,0 1-1 0 0,-1-1 0 0 0,1 0 1 0 0,0 0-1 0 0,0 0 0 0 0,0 0 1 0 0,0 0-1 0 0,0 0 0 0 0,-1 0 1 0 0,1 0-1 0 0,0 0 0 0 0,0 0 1 0 0,0 0-1 0 0,0 0 1 0 0,-1 0-1 0 0,1 0 0 0 0,0 0 1 0 0,0 0-1 0 0,0 0 0 0 0,0 0 1 0 0,0 0-1 0 0,-1 0 0 0 0,1 0 1 0 0,0 0-1 0 0,0 0 1 0 0,0 0-1 0 0,0-1 0 0 0,0 1 1 0 0,-1 0-1 0 0,1 0 0 0 0,0 0 1 0 0,0 0-1 0 0,0 0 0 0 0,0 0 1 0 0,0 0-1 0 0,0-1 1 0 0,0 1-1 0 0,0 0 0 0 0,0 0 1 0 0,-1 0-1 0 0,1 0 0 0 0,0 0 1 0 0,0-1-1 0 0,0 1 0 0 0,0 0 1 0 0,0 0-1 0 0,0 0 1 0 0,0 0-1 0 0,0 0 0 0 0,0-1 1 0 0,0 1-1 0 0,0 0 0 0 0,0 0 1 0 0,0 0-1 0 0,0 0 0 0 0,0 0 1 0 0,0-1-1 0 0,0-10-2 0 0,0 0-1 0 0,0 0 0 0 0,1 0 0 0 0,1 1 1 0 0,0-1-1 0 0,0 0 0 0 0,1 1 1 0 0,7-18-1 0 0,44-84-101 0 0,-36 78 102 0 0,49-93-24 0 0,79-156-2 0 0,-134 256 140 0 0,-26 43 214 0 0,-2 4-180 0 0,-277 323-42 0 0,265-309-100 0 0,-112 126 11 0 0,132-153-16 0 0,8-7 1 0 0,0 0 0 0 0,-1 0-1 0 0,1 0 1 0 0,0 0-1 0 0,0 0 1 0 0,0 0-1 0 0,0 0 1 0 0,0 0-1 0 0,-1 0 1 0 0,1 0-1 0 0,0 0 1 0 0,0 0-1 0 0,0 0 1 0 0,0 0-1 0 0,0 0 1 0 0,-1 0-1 0 0,1 0 1 0 0,0 0 0 0 0,0 0-1 0 0,0 0 1 0 0,0 0-1 0 0,0 0 1 0 0,-1 0-1 0 0,1 0 1 0 0,0 0-1 0 0,0 0 1 0 0,0 0-1 0 0,0 0 1 0 0,0 0-1 0 0,0-1 1 0 0,0 1-1 0 0,-1 0 1 0 0,1 0-1 0 0,0 0 1 0 0,0 0 0 0 0,0 0-1 0 0,0 0 1 0 0,0-1-1 0 0,0 1 1 0 0,0 0-1 0 0,0 0 1 0 0,0 0-1 0 0,0 0 1 0 0,-1-3-12 0 0,1 0-1 0 0,-1 0 1 0 0,1 0 0 0 0,0 0 0 0 0,0 0 0 0 0,0 0-1 0 0,0 0 1 0 0,1 0 0 0 0,-1 0 0 0 0,1 1 0 0 0,0-1-1 0 0,0 0 1 0 0,0 0 0 0 0,1-3 0 0 0,25-47-154 0 0,-19 39 133 0 0,42-77-39 0 0,179-353 67 0 0,-226 436 12 0 0,-1 5 0 0 0,-1 0-1 0 0,1-1 1 0 0,-1 1 0 0 0,0 0 0 0 0,0 0 0 0 0,0 0-1 0 0,-1-1 1 0 0,1 1 0 0 0,-1-7 0 0 0,-4 15 145 0 0,-29 40 0 0 0,-68 71 1 0 0,46-56-146 0 0,15-14-8 0 0,-140 143 21 0 0,178-187-24 0 0,-4 2 20 0 0,7-16-90 0 0,5-4 18 0 0,0-1-1 0 0,2 2 1 0 0,0-1-1 0 0,0 1 1 0 0,12-15-1 0 0,-14 22 57 0 0,84-135 0 0 0,78-117 24 0 0,-131 211-16 0 0,-37 49-6 0 0,0 0 0 0 0,0 0-1 0 0,0 0 1 0 0,0 0 0 0 0,0 0-1 0 0,0 0 1 0 0,0 0 0 0 0,0 0 0 0 0,0 0-1 0 0,0 0 1 0 0,0 0 0 0 0,0 1-1 0 0,0-1 1 0 0,0 0 0 0 0,0 0-1 0 0,0 0 1 0 0,0 0 0 0 0,0 0-1 0 0,0 0 1 0 0,0 0 0 0 0,0 0 0 0 0,0 0-1 0 0,0 0 1 0 0,0 0 0 0 0,0 0-1 0 0,0 0 1 0 0,0 0 0 0 0,0 0-1 0 0,0 0 1 0 0,1 0 0 0 0,-1 0-1 0 0,0 0 1 0 0,0 0 0 0 0,0 0 0 0 0,0 1-1 0 0,0-1 1 0 0,0 0 0 0 0,0 0-1 0 0,0 0 1 0 0,0 0 0 0 0,0 0-1 0 0,0 0 1 0 0,0 0 0 0 0,0 0-1 0 0,0 0 1 0 0,0 0 0 0 0,0 0 0 0 0,0 0-1 0 0,1 0 1 0 0,-1 0 0 0 0,0 0-1 0 0,0 0 1 0 0,0 0 0 0 0,0 0-1 0 0,0 0 1 0 0,0 0 0 0 0,0 0-1 0 0,0-1 1 0 0,0 1 0 0 0,-1 8 123 0 0,-2 1-43 0 0,0-1 0 0 0,0 1 0 0 0,-1-1 0 0 0,0 0 0 0 0,-1 0 1 0 0,-5 7-1 0 0,-38 48-133 0 0,28-39 79 0 0,-44 50-28 0 0,64-73-48 0 0,-10 12-144 0 0,-1 3-215 0 0,-2-1 0 0 0,1-1 0 0 0,-2 0 0 0 0,-16 13 0 0 0,-53 39-4518 0 0</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44.130"/>
    </inkml:context>
    <inkml:brush xml:id="br0">
      <inkml:brushProperty name="width" value="0.35" units="cm"/>
      <inkml:brushProperty name="height" value="0.35" units="cm"/>
    </inkml:brush>
  </inkml:definitions>
  <inkml:trace contextRef="#ctx0" brushRef="#br0">153 763 9060 0 0,'0'0'1118'0'0,"-1"-17"-347"0"0,-2-122 840 0 0,3 89 1617 0 0,0 66-2494 0 0,0 169-579 0 0,0-184-168 0 0,0-3-3 0 0,3-91 253 0 0,-1-43-69 0 0,-3 114-153 0 0,-2 0 0 0 0,0 1 0 0 0,-1-1 0 0 0,-8-24 0 0 0,-2 5 1 0 0,-2 1 0 0 0,-2 1 0 0 0,-29-47 0 0 0,36 72 9 0 0,11 14-24 0 0,0 0-1 0 0,0 0 0 0 0,0 0 1 0 0,0 0-1 0 0,0-1 0 0 0,0 1 1 0 0,0 0-1 0 0,-1 0 0 0 0,1 0 1 0 0,0 0-1 0 0,0 0 0 0 0,0 0 1 0 0,0 0-1 0 0,0 0 0 0 0,0 0 1 0 0,-1 0-1 0 0,1 0 1 0 0,0 0-1 0 0,0 0 0 0 0,0 0 1 0 0,0 0-1 0 0,0 0 0 0 0,-1 0 1 0 0,1 0-1 0 0,0 0 0 0 0,0 0 1 0 0,0 0-1 0 0,0 0 0 0 0,0 0 1 0 0,-1 0-1 0 0,1 0 0 0 0,0 0 1 0 0,0 0-1 0 0,0 0 0 0 0,0 0 1 0 0,0 0-1 0 0,0 1 0 0 0,0-1 1 0 0,-1 0-1 0 0,1 0 0 0 0,0 0 1 0 0,0 0-1 0 0,0 0 0 0 0,0 0 1 0 0,0 1-1 0 0,-2 24-5 0 0,2-21 1 0 0,0 17-13 0 0,-1 16 33 0 0,2 1 1 0 0,8 50-1 0 0,-4-57-9 0 0,-5-23-6 0 0,1 0-1 0 0,1 0 0 0 0,-1-1 1 0 0,1 1-1 0 0,1 0 1 0 0,-1-1-1 0 0,6 11 1 0 0,-8-18-3 0 0,0 0 0 0 0,0 0 0 0 0,0 0 0 0 0,0 0 0 0 0,0 1 0 0 0,0-1 1 0 0,0 0-1 0 0,0 0 0 0 0,0 0 0 0 0,0 0 0 0 0,0 1 0 0 0,0-1 0 0 0,0 0 1 0 0,0 0-1 0 0,0 0 0 0 0,0 0 0 0 0,1 1 0 0 0,-1-1 0 0 0,0 0 0 0 0,0 0 1 0 0,0 0-1 0 0,0 0 0 0 0,0 0 0 0 0,0 0 0 0 0,1 1 0 0 0,-1-1 0 0 0,0 0 1 0 0,0 0-1 0 0,0 0 0 0 0,0 0 0 0 0,0 0 0 0 0,1 0 0 0 0,-1 0 0 0 0,0 0 1 0 0,0 0-1 0 0,0 0 0 0 0,0 0 0 0 0,1 0 0 0 0,-1 0 0 0 0,0 0 0 0 0,0 0 1 0 0,0 0-1 0 0,0 0 0 0 0,1 0 0 0 0,-1 0 0 0 0,0 0 0 0 0,0 0 1 0 0,0 0-1 0 0,0 0 0 0 0,1 0 0 0 0,-1 0 0 0 0,0 0 0 0 0,0-1 0 0 0,0 1 1 0 0,0 0-1 0 0,0 0 0 0 0,1 0 0 0 0,-1 0 0 0 0,0 0 0 0 0,0 0 0 0 0,0-1 1 0 0,0 1-1 0 0,0 0 0 0 0,0 0 0 0 0,0 0 0 0 0,3-15-191 0 0,-2 14 178 0 0,4-64-65 0 0,-2 0 0 0 0,-6-69 0 0 0,2 121 106 0 0,-1 0 0 0 0,0 0 0 0 0,-1 0 0 0 0,-6-18 0 0 0,7 25-24 0 0,0 1 0 0 0,-1-1 0 0 0,1 0-1 0 0,-1 1 1 0 0,-1-1 0 0 0,1 1 0 0 0,-1 0 0 0 0,0 0-1 0 0,0 0 1 0 0,0 1 0 0 0,-6-6 0 0 0,6 10 140 0 0,4 7-39 0 0,0-6-98 0 0,0 10-39 0 0,0 25 3 0 0,5 47 0 0 0,-3-71 34 0 0,0-1 0 0 0,1 0 0 0 0,0 0 0 0 0,1 0 0 0 0,0 0 0 0 0,0 0 0 0 0,1-1 0 0 0,9 15 0 0 0,-13-24-11 0 0,0 1-1 0 0,0-1 0 0 0,0 1 1 0 0,0-1-1 0 0,0 0 1 0 0,1 0-1 0 0,-1 1 1 0 0,0-1-1 0 0,0 0 1 0 0,1 0-1 0 0,-1 0 0 0 0,1 0 1 0 0,-1-1-1 0 0,1 1 1 0 0,-1 0-1 0 0,1 0 1 0 0,2 0-1 0 0,-2-1-8 0 0,-1 0-1 0 0,0-1 0 0 0,0 1 1 0 0,0 0-1 0 0,0-1 1 0 0,0 1-1 0 0,0 0 0 0 0,0-1 1 0 0,0 1-1 0 0,0-1 1 0 0,-1 0-1 0 0,1 1 0 0 0,0-1 1 0 0,0 0-1 0 0,0 0 1 0 0,-1 1-1 0 0,1-1 0 0 0,0 0 1 0 0,-1 0-1 0 0,1 0 1 0 0,0 0-1 0 0,-1 0 0 0 0,0 0 1 0 0,1 0-1 0 0,-1 0 1 0 0,1 0-1 0 0,-1 0 0 0 0,0-1 1 0 0,6-15 52 0 0,-1 0 1 0 0,-2-1-1 0 0,1 1 0 0 0,0-25 1 0 0,-2-73 262 0 0,-2 79-285 0 0,0 31-7 0 0,-1-21 30 0 0,1 25-35 0 0,-1 0 0 0 0,1 0 0 0 0,0 0 0 0 0,0-1-1 0 0,-1 1 1 0 0,1 0 0 0 0,-1 0 0 0 0,1 0 0 0 0,-1 0 0 0 0,1 0 0 0 0,-1 0 0 0 0,0 0-1 0 0,1 1 1 0 0,-1-1 0 0 0,0 0 0 0 0,0 0 0 0 0,0 0 0 0 0,-1 0 0 0 0,2 1-1 0 0,0 0 1 0 0,0 0 0 0 0,0-1 0 0 0,0 1-1 0 0,0 0 1 0 0,-1 0 0 0 0,1 0 0 0 0,0 0-1 0 0,0 0 1 0 0,0 0 0 0 0,0 0 0 0 0,0 0-1 0 0,0 0 1 0 0,0 0 0 0 0,0 0 0 0 0,-1 0-1 0 0,1 0 1 0 0,0 0 0 0 0,0 0 0 0 0,0 0-1 0 0,0 0 1 0 0,0 0 0 0 0,0 0 0 0 0,0 1-1 0 0,0-1 1 0 0,-1 0 0 0 0,1 0 0 0 0,0 0-1 0 0,0 0 1 0 0,0 0 0 0 0,0 0 0 0 0,0 0-1 0 0,0 0 1 0 0,0 0 0 0 0,0 0 0 0 0,0 0-1 0 0,0 0 1 0 0,0 0 0 0 0,0 1 0 0 0,0-1-1 0 0,0 0 1 0 0,0 0 0 0 0,-1 0-1 0 0,1 0 1 0 0,0 0 0 0 0,0 0 0 0 0,0 0-1 0 0,0 0 1 0 0,0 1 0 0 0,0-1 0 0 0,0 0-1 0 0,0 0 1 0 0,0 0 0 0 0,0 0 0 0 0,0 0-1 0 0,0 0 1 0 0,1 0 0 0 0,-1 0 0 0 0,0 1-1 0 0,0-1 1 0 0,-3 30 25 0 0,4 54-1 0 0,0-29-15 0 0,0-33 1 0 0,1 1-1 0 0,0-1 0 0 0,11 37 0 0 0,27 63 5 0 0,-40-122-15 0 0,0 3-4 0 0,1-1-1 0 0,0 1 1 0 0,0-1-1 0 0,0 1 0 0 0,0-1 1 0 0,0 0-1 0 0,0 0 1 0 0,1 1-1 0 0,-1-1 1 0 0,1 0-1 0 0,-1 0 1 0 0,1-1-1 0 0,0 1 1 0 0,0 0-1 0 0,0 0 1 0 0,4 2-1 0 0,-6-5-3 0 0,1 1 1 0 0,-1 0-1 0 0,1 0 0 0 0,-1 0 1 0 0,1 0-1 0 0,-1 0 0 0 0,1-1 1 0 0,-1 1-1 0 0,1 0 0 0 0,-1 0 1 0 0,0-1-1 0 0,1 1 0 0 0,-1 0 1 0 0,1-1-1 0 0,-1 1 0 0 0,0-1 1 0 0,1 1-1 0 0,-1 0 0 0 0,0-1 1 0 0,1 1-1 0 0,-1-1 0 0 0,0 1 1 0 0,0-1-1 0 0,0 1 0 0 0,1-1 0 0 0,-1 1 1 0 0,0-1-1 0 0,0 1 0 0 0,0-1 1 0 0,0 1-1 0 0,0-1 0 0 0,0 1 1 0 0,0-1-1 0 0,0 0 0 0 0,3-25-195 0 0,-3 21 174 0 0,4-39 116 0 0,-2 1 0 0 0,-7-75 0 0 0,3 107-78 0 0,0-1 1 0 0,-1 1-1 0 0,-1 0 1 0 0,0 0-1 0 0,-1 1 1 0 0,0-1-1 0 0,0 1 1 0 0,-1 0-1 0 0,0 1 1 0 0,-15-19-1 0 0,10 21 72 0 0,11 7-79 0 0,0 0-1 0 0,0 0 0 0 0,0 0 1 0 0,-1 0-1 0 0,1 0 0 0 0,0 0 0 0 0,0 0 1 0 0,0 0-1 0 0,-1 0 0 0 0,1 0 1 0 0,0 0-1 0 0,0 0 0 0 0,0 0 0 0 0,-1 1 1 0 0,1-1-1 0 0,0 0 0 0 0,0 0 1 0 0,0 0-1 0 0,0 0 0 0 0,0 0 0 0 0,-1 1 1 0 0,1-1-1 0 0,0 0 0 0 0,0 0 1 0 0,0 0-1 0 0,0 1 0 0 0,0-1 1 0 0,0 0-1 0 0,0 0 0 0 0,0 0 0 0 0,0 1 1 0 0,0-1-1 0 0,-1 26-5 0 0,1-17-23 0 0,1 13 7 0 0,1 0-1 0 0,1 0 0 0 0,1-1 0 0 0,0 1 0 0 0,11 27 1 0 0,49 101 43 0 0,-53-127-23 0 0,0-1 0 0 0,2 0 0 0 0,0-1 0 0 0,2 0 0 0 0,0-2 0 0 0,26 27 0 0 0,-36-42-5 0 0,-1-1 0 0 0,1 0 0 0 0,-1 0 0 0 0,1 0 0 0 0,0-1 0 0 0,0 1-1 0 0,0-1 1 0 0,8 2 0 0 0,-10-3-16 0 0,0 0 0 0 0,0-1 0 0 0,0 1 0 0 0,0-1 0 0 0,0 0 0 0 0,0 0 0 0 0,0 0 0 0 0,0 0 0 0 0,0 0 0 0 0,0-1 0 0 0,1 0 0 0 0,-1 1 0 0 0,-1-1 0 0 0,1 0 0 0 0,0 0 0 0 0,4-3 0 0 0,-2 1-17 0 0,-1-1 0 0 0,1 0-1 0 0,-1 0 1 0 0,0-1 0 0 0,0 0 0 0 0,-1 1-1 0 0,1-1 1 0 0,4-9 0 0 0,21-48 134 0 0,-19 37-60 0 0,-2 0 0 0 0,-1 0-1 0 0,-1-1 1 0 0,4-44 0 0 0,-9 54-12 0 0,-1 37-32 0 0,0 268-19 0 0,0-289 27 0 0,0 1-1 0 0,0-1 0 0 0,0 0 1 0 0,0 0-1 0 0,0 1 0 0 0,0-1 1 0 0,0 0-1 0 0,0 1 0 0 0,0-1 1 0 0,0 0-1 0 0,1 0 0 0 0,-1 1 1 0 0,0-1-1 0 0,0 0 0 0 0,0 0 1 0 0,0 1-1 0 0,1-1 0 0 0,-1 0 1 0 0,0 0-1 0 0,0 1 0 0 0,0-1 1 0 0,1 0-1 0 0,-1 0 0 0 0,0 0 1 0 0,0 0-1 0 0,1 1 0 0 0,-1-1 1 0 0,0 0-1 0 0,0 0 1 0 0,1 0-1 0 0,-1 0 0 0 0,0 0 1 0 0,1 0-1 0 0,-1 0 0 0 0,0 0 1 0 0,0 0-1 0 0,1 0 0 0 0,-1 0 1 0 0,1 0-1 0 0,11-3-56 0 0,-7 1 44 0 0,-1-1 0 0 0,0 0 0 0 0,0 0 0 0 0,-1 0 0 0 0,1 0 0 0 0,-1-1 0 0 0,5-5 1 0 0,2-2 11 0 0,191-197 226 0 0,-196 203-223 0 0,-4 4-4 0 0,0 1 0 0 0,-1-1 0 0 0,1 0 0 0 0,0 1 1 0 0,-1-1-1 0 0,1 0 0 0 0,0 1 0 0 0,-1-1 0 0 0,1 0 0 0 0,-1 0 0 0 0,1 0 0 0 0,-1 0 0 0 0,0 0 0 0 0,1 0 0 0 0,-1 0 0 0 0,0 1 0 0 0,1-3 0 0 0,-2 3 5 0 0,1 0 0 0 0,-1 0 0 0 0,0 0 0 0 0,1 0 0 0 0,-1 0 0 0 0,0 0 0 0 0,1 0 0 0 0,-1 0 0 0 0,0 0 0 0 0,1 0 0 0 0,-1 0 0 0 0,1 0 0 0 0,-1 0 0 0 0,0 1 0 0 0,1-1 0 0 0,-1 0 0 0 0,1 0 0 0 0,-2 1 0 0 0,-30 13 2 0 0,0 1 1 0 0,2 2 0 0 0,-1 1-1 0 0,2 1 1 0 0,1 2 0 0 0,-45 41 0 0 0,57-48 11 0 0,1 1 1 0 0,1 0 0 0 0,0 1 0 0 0,1 0-1 0 0,-17 30 1 0 0,21-20 19 0 0,9-25-38 0 0,-1 0-1 0 0,1-1 0 0 0,0 1 0 0 0,0 0 0 0 0,0-1 0 0 0,0 1 0 0 0,0 0 0 0 0,0-1 0 0 0,0 1 1 0 0,0 0-1 0 0,0-1 0 0 0,0 1 0 0 0,0 0 0 0 0,0-1 0 0 0,0 1 0 0 0,1 0 0 0 0,-1-1 1 0 0,0 1-1 0 0,0-1 0 0 0,1 1 0 0 0,-1 0 0 0 0,0-1 0 0 0,1 1 0 0 0,-1-1 0 0 0,1 1 0 0 0,-1-1 1 0 0,1 1-1 0 0,-1-1 0 0 0,1 1 0 0 0,-1-1 0 0 0,1 0 0 0 0,-1 1 0 0 0,1-1 0 0 0,0 0 1 0 0,-1 1-1 0 0,1-1 0 0 0,0 0 0 0 0,-1 0 0 0 0,1 0 0 0 0,1 1 0 0 0,11-1-13 0 0,1 0 0 0 0,0 0 0 0 0,-1-1 0 0 0,1-1 0 0 0,-1 0 0 0 0,0-1 0 0 0,1-1 0 0 0,12-5 0 0 0,106-50 22 0 0,223-152 167 0 0,-190 107-100 0 0,-157 99-94 0 0,-7 4 0 0 0,0 0 1 0 0,0 0 0 0 0,0 0-1 0 0,1 1 1 0 0,-1-1 0 0 0,0 0 0 0 0,1 1-1 0 0,-1-1 1 0 0,1 1 0 0 0,-1 0-1 0 0,1-1 1 0 0,-1 1 0 0 0,3 0-1 0 0,-4 1 1 0 0,0 0-1 0 0,0 0 0 0 0,0 1 0 0 0,0-1 1 0 0,0 0-1 0 0,0 0 0 0 0,0 1 0 0 0,0-1 0 0 0,0 0 1 0 0,0 0-1 0 0,-1 2 0 0 0,-2 5 26 0 0,0-1 0 0 0,-1 1 0 0 0,1-1 0 0 0,-2 0 0 0 0,1-1-1 0 0,-1 1 1 0 0,0-1 0 0 0,-6 7 0 0 0,-10 13 18 0 0,-7 10-18 0 0,11-15-5 0 0,1 1-1 0 0,1 0 1 0 0,-13 27-1 0 0,27-46-1 0 0,0 0 0 0 0,0 0 0 0 0,0 0 0 0 0,0 0-1 0 0,1 0 1 0 0,-1 0 0 0 0,1 0 0 0 0,0 5 0 0 0,0-8-2 0 0,0 0 1 0 0,0 1 0 0 0,0-1 0 0 0,0 0-1 0 0,0 0 1 0 0,0 0 0 0 0,0 0 0 0 0,0 0-1 0 0,0 1 1 0 0,0-1 0 0 0,1 0-1 0 0,-1 0 1 0 0,0 0 0 0 0,0 0 0 0 0,0 0-1 0 0,0 0 1 0 0,0 0 0 0 0,0 1-1 0 0,1-1 1 0 0,-1 0 0 0 0,0 0 0 0 0,0 0-1 0 0,0 0 1 0 0,0 0 0 0 0,0 0-1 0 0,1 0 1 0 0,-1 0 0 0 0,0 0 0 0 0,0 0-1 0 0,0 0 1 0 0,0 0 0 0 0,1 0 0 0 0,-1 0-1 0 0,0 0 1 0 0,0 0 0 0 0,0 0-1 0 0,0 0 1 0 0,1 0 0 0 0,-1 0 0 0 0,0 0-1 0 0,0 0 1 0 0,0 0 0 0 0,0 0-1 0 0,0-1 1 0 0,1 1 0 0 0,-1 0 0 0 0,0 0-1 0 0,9-1-4 0 0,-1 0-1 0 0,1 0 0 0 0,0-1 0 0 0,-1 0 1 0 0,1-1-1 0 0,-1 0 0 0 0,0 0 1 0 0,0-1-1 0 0,10-6 0 0 0,73-51 222 0 0,-78 52-199 0 0,178-151 102 0 0,-125 102-111 0 0,-61 53-3 0 0,-4 5-4 0 0,-1-1 0 0 0,1 0 0 0 0,-1 1 0 0 0,1-1 0 0 0,-1 1 0 0 0,1-1 0 0 0,0 1-1 0 0,-1-1 1 0 0,1 1 0 0 0,0 0 0 0 0,0-1 0 0 0,-1 1 0 0 0,1 0 0 0 0,0-1-1 0 0,0 1 1 0 0,1 0 0 0 0,-1 3-18 0 0,-2 10 50 0 0,0 1 0 0 0,-1-1 0 0 0,-1 1 0 0 0,0-1 0 0 0,-1 0 0 0 0,0 0 0 0 0,-1 0 0 0 0,0-1 0 0 0,-9 14 0 0 0,-118 209 174 0 0,131-233-205 0 0,0 0-1 0 0,0 1 0 0 0,0-1 0 0 0,0 1 1 0 0,0 0-1 0 0,0-1 0 0 0,1 1 1 0 0,-1 0-1 0 0,1-1 0 0 0,-1 4 0 0 0,4-6-111 0 0,174-138 152 0 0,-121 91 35 0 0,86-56 0 0 0,-140 101-86 0 0,0 1 0 0 0,0 0 0 0 0,0 0-1 0 0,0 0 1 0 0,0 0 0 0 0,0 0 0 0 0,1 0 0 0 0,-1 1 0 0 0,0-1 0 0 0,1 1 0 0 0,-1-1 0 0 0,5 1 0 0 0,-6 0 7 0 0,-1 0 1 0 0,0 0 0 0 0,0 0 0 0 0,0 0-1 0 0,1 0 1 0 0,-1 0 0 0 0,0 0 0 0 0,0 0-1 0 0,0 0 1 0 0,1 0 0 0 0,-1 1-1 0 0,0-1 1 0 0,0 0 0 0 0,0 0 0 0 0,0 0-1 0 0,1 0 1 0 0,-1 0 0 0 0,0 0 0 0 0,0 1-1 0 0,0-1 1 0 0,0 0 0 0 0,0 0 0 0 0,0 0-1 0 0,1 0 1 0 0,-1 1 0 0 0,0-1-1 0 0,0 0 1 0 0,0 0 0 0 0,0 0 0 0 0,0 1-1 0 0,0-1 1 0 0,0 0 0 0 0,0 0 0 0 0,0 0-1 0 0,0 1 1 0 0,0-1 0 0 0,0 0 0 0 0,0 0-1 0 0,0 1 1 0 0,1 15 14 0 0,0 1 0 0 0,-2-1 0 0 0,1 0 0 0 0,-2 1 0 0 0,0-1 0 0 0,-2 0 0 0 0,1 0-1 0 0,-2 0 1 0 0,-6 16 0 0 0,4-15 26 0 0,4-12-28 0 0,0 1 0 0 0,1 0 0 0 0,0 0 0 0 0,0 0 0 0 0,0 0 0 0 0,1 0 1 0 0,-1 9-1 0 0,1-13-11 0 0,2 2-11 0 0,8-6-68 0 0,10-7 44 0 0,0-1 1 0 0,31-22 0 0 0,38-34 175 0 0,-40 28-127 0 0,-12 10 12 0 0,48-34 23 0 0,-74 55-50 0 0,2 0 1 0 0,-1 1 0 0 0,1 0-1 0 0,0 1 1 0 0,18-6-1 0 0,-29 11 0 0 0,-1 0-1 0 0,1-1 0 0 0,0 1 0 0 0,-1 0 1 0 0,1 0-1 0 0,0 0 0 0 0,-1-1 0 0 0,1 1 1 0 0,0 0-1 0 0,-1 0 0 0 0,1 0 0 0 0,0 0 1 0 0,-1 0-1 0 0,1 1 0 0 0,0-1 0 0 0,-1 0 1 0 0,1 0-1 0 0,0 0 0 0 0,-1 0 0 0 0,1 1 1 0 0,0-1-1 0 0,-1 0 0 0 0,1 1 0 0 0,-1-1 1 0 0,1 0-1 0 0,0 1 0 0 0,-1-1 0 0 0,1 1 1 0 0,-1-1-1 0 0,1 1 0 0 0,-1-1 0 0 0,0 1 1 0 0,1 0-1 0 0,0 1-2 0 0,-1 0-1 0 0,1 1 1 0 0,-1-1 0 0 0,0 0 0 0 0,1 0-1 0 0,-1 1 1 0 0,0-1 0 0 0,-1 3 0 0 0,1 2 48 0 0,0 2-29 0 0,-1 0 1 0 0,0 0-1 0 0,-1 0 1 0 0,0 0-1 0 0,0 0 1 0 0,-1 0-1 0 0,0-1 0 0 0,0 1 1 0 0,-6 9-1 0 0,-6 7 133 0 0,-28 37 0 0 0,17-26 42 0 0,22-31-177 0 0,3-4-10 0 0,1 0 0 0 0,-1 0-1 0 0,0 0 1 0 0,0 0 0 0 0,1 0 0 0 0,-1 0 0 0 0,1 0-1 0 0,-1 0 1 0 0,1 0 0 0 0,-1 0 0 0 0,1 0-1 0 0,0 1 1 0 0,0-1 0 0 0,0 0 0 0 0,-1 2 0 0 0,11-4-196 0 0,65-10 193 0 0,-50 6 7 0 0,41-2 0 0 0,-50 6-30 0 0,-4 0 1 0 0,-1 1 0 0 0,18 1 1 0 0,-27-1-10 0 0,-1 0 1 0 0,1 0 0 0 0,0 1-1 0 0,-1-1 1 0 0,1 0 0 0 0,0 1-1 0 0,-1-1 1 0 0,1 1 0 0 0,-1-1-1 0 0,1 1 1 0 0,-1 0 0 0 0,1 0-1 0 0,-1 0 1 0 0,0 0 0 0 0,1 0-1 0 0,-1 0 1 0 0,0 0 0 0 0,0 0-1 0 0,0 0 1 0 0,0 0 0 0 0,0 1-1 0 0,0-1 1 0 0,0 0 0 0 0,1 3-1 0 0,0 19-1626 0 0</inkml:trace>
</inkml:ink>
</file>

<file path=ppt/ink/ink3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10.833"/>
    </inkml:context>
    <inkml:brush xml:id="br0">
      <inkml:brushProperty name="width" value="0.35" units="cm"/>
      <inkml:brushProperty name="height" value="0.35" units="cm"/>
    </inkml:brush>
  </inkml:definitions>
  <inkml:trace contextRef="#ctx0" brushRef="#br0">2074 844 5619 0 0,'0'0'10559'0'0,"-10"0"-10124"0"0,-1 2-403 0 0,1 1-1 0 0,0 0 1 0 0,0 1-1 0 0,0 0 1 0 0,0 1 0 0 0,0 0-1 0 0,1 0 1 0 0,-12 10 0 0 0,-1-2 46 0 0,-58 36 5 0 0,-75 44 303 0 0,154-92-343 0 0,2-3-60 0 0,-1 1 0 0 0,0 0 1 0 0,1 0-1 0 0,-1 0 0 0 0,1-1 0 0 0,-1 1 0 0 0,1 0 1 0 0,-1 0-1 0 0,1 0 0 0 0,0 0 0 0 0,-1 0 1 0 0,1 0-1 0 0,2-1 0 0 0,-2 0-9 0 0,14-13 72 0 0,1 0 1 0 0,20-15 0 0 0,8-8-3 0 0,-20 16 69 0 0,16-14-133 0 0,60-69-1 0 0,-97 102-16 0 0,-2 1 38 0 0,0 1 1 0 0,1-1-1 0 0,-1 1 0 0 0,0-1 0 0 0,0 1 0 0 0,0-1 0 0 0,0 0 1 0 0,0 1-1 0 0,-1-1 0 0 0,1 0 0 0 0,0 0 0 0 0,-1-2 0 0 0,-4 7-195 0 0,-357 204 544 0 0,113-78-239 0 0,229-119-95 0 0,12-6 1 0 0,0-1 1 0 0,0 1-1 0 0,-12 3 0 0 0,18-7-91 0 0,1-2 48 0 0,1 0 0 0 0,-1 0 1 0 0,0 0-1 0 0,1 0 0 0 0,0 1 1 0 0,-1-1-1 0 0,1 0 0 0 0,0 0 1 0 0,0 0-1 0 0,0 1 0 0 0,0-1 0 0 0,0 0 1 0 0,0 1-1 0 0,0-1 0 0 0,1 1 1 0 0,-1-1-1 0 0,0 1 0 0 0,1 0 1 0 0,0 0-1 0 0,-1 0 0 0 0,4-2 1 0 0,5-5-18 0 0,122-112 511 0 0,28-24-646 0 0,-140 128 226 0 0,7-6-28 0 0,28-30 0 0 0,-286 196-415 0 0,51-29 537 0 0,43-35-35 0 0,135-79-113 0 0,2-3-151 0 0,1-1 122 0 0,0 0 0 0 0,0 0 0 0 0,0 1 0 0 0,1-1 0 0 0,-1 1 0 0 0,1-1 1 0 0,-1 1-1 0 0,1-1 0 0 0,0 1 0 0 0,0 0 0 0 0,0 0 0 0 0,0 0 0 0 0,1 0 0 0 0,3-2 0 0 0,4-5-9 0 0,211-171 436 0 0,-48 42-470 0 0,-121 90-66 0 0,-50 47 8 0 0,-6 2-171 0 0,-11 5 296 0 0,0 0-1 0 0,1 1 1 0 0,0 1-1 0 0,-13 9 1 0 0,-4 3 7 0 0,-388 240 196 0 0,540-357-829 0 0,122-92 837 0 0,-14-14 61 0 0,-215 190-285 0 0,13-13 37 0 0,-26 24-16 0 0,0 1 0 0 0,1-1 0 0 0,-1 1-1 0 0,0-1 1 0 0,0 1 0 0 0,0-1 0 0 0,0 0-1 0 0,0 1 1 0 0,-1-1 0 0 0,1 0 0 0 0,0 0 0 0 0,-1 0-1 0 0,1-2 1 0 0,-2 4-9 0 0,1-1-1 0 0,0 1 1 0 0,-1 0 0 0 0,1 0-1 0 0,-1 0 1 0 0,1-1 0 0 0,0 1-1 0 0,-1 0 1 0 0,1 0 0 0 0,-1 0-1 0 0,1 0 1 0 0,-1 0-1 0 0,1 0 1 0 0,-1 0 0 0 0,1 0-1 0 0,0 0 1 0 0,-1 0 0 0 0,1 0-1 0 0,-1 1 1 0 0,1-1 0 0 0,-1 0-1 0 0,1 0 1 0 0,0 0-1 0 0,-1 0 1 0 0,1 1 0 0 0,-1-1-1 0 0,1 0 1 0 0,0 0 0 0 0,-1 1-1 0 0,1-1 1 0 0,-1 1 8 0 0,-35 15 122 0 0,-63 40-1 0 0,-38 35-45 0 0,81-53-43 0 0,-27 18 7 0 0,-177 127 323 0 0,242-167-361 0 0,45-40-479 0 0,-2 5 484 0 0,38-24-1 0 0,-12 10 177 0 0,229-160-149 0 0,-264 181-153 0 0,-139 82-191 0 0,70-37 361 0 0,-349 182 169 0 0,339-182-42 0 0,62-32-214 0 0,2-5-259 0 0,0 0 275 0 0,0-1 0 0 0,1 1 0 0 0,0-1 0 0 0,-1 1 0 0 0,2 0 0 0 0,-1 0 0 0 0,0 0 0 0 0,1 0 0 0 0,4-4 0 0 0,35-39 297 0 0,-15 19-261 0 0,-10 9 13 0 0,38-49-22 0 0,-50 61 18 0 0,0-1 1 0 0,0 1-1 0 0,-1-1 1 0 0,0 0 0 0 0,0-1-1 0 0,-1 1 1 0 0,3-11-1 0 0,-6 18-25 0 0,0 0-1 0 0,0 1 1 0 0,1-1 0 0 0,-1 0-1 0 0,0 1 1 0 0,0-1-1 0 0,0 0 1 0 0,0 0-1 0 0,0 1 1 0 0,0-1-1 0 0,0 0 1 0 0,0 1-1 0 0,-1-1 1 0 0,1 0-1 0 0,0 1 1 0 0,0-1-1 0 0,-1 0 1 0 0,1 1-1 0 0,0-1 1 0 0,-1 0 0 0 0,1 1-1 0 0,0-1 1 0 0,-1 1-1 0 0,1-1 1 0 0,-1 0-1 0 0,0 0-1 0 0,0 1 1 0 0,-1-1-1 0 0,1 1 0 0 0,0 0 1 0 0,0-1-1 0 0,0 1 0 0 0,0 0 1 0 0,0-1-1 0 0,-1 1 0 0 0,1 0 1 0 0,0 0-1 0 0,0 0 0 0 0,-3 1 1 0 0,-4 0 12 0 0,0 1 1 0 0,0 0-1 0 0,-11 4 0 0 0,17-5 7 0 0,-55 23 46 0 0,2 3-1 0 0,-56 36 1 0 0,20-11 60 0 0,73-42-82 0 0,13-6-27 0 0,0-2-1 0 0,1 1 1 0 0,-2 0-1 0 0,-8 3 1 0 0,13-6-70 0 0,2-3-306 0 0,0 2 322 0 0,-1 0 0 0 0,1 0 0 0 0,0 0 1 0 0,0 1-1 0 0,-1-1 0 0 0,1 0 0 0 0,0 0 1 0 0,0 1-1 0 0,2-2 0 0 0,-1 0-26 0 0,160-117 518 0 0,-153 112-468 0 0,12-8 18 0 0,-20 14 6 0 0,0 1-1 0 0,0-1 1 0 0,-1 0 0 0 0,1 0 0 0 0,0 0-1 0 0,0 0 1 0 0,0 0 0 0 0,-1 0-1 0 0,1 0 1 0 0,-1 0 0 0 0,1 0 0 0 0,-1 0-1 0 0,1 0 1 0 0,-1 0 0 0 0,1-2 0 0 0,-5 3-144 0 0,-16 5 125 0 0,1 1 1 0 0,0 0-1 0 0,0 1 0 0 0,-27 16 0 0 0,10-6 54 0 0,-14 7 21 0 0,20-9 7 0 0,-1-1 1 0 0,-41 12-1 0 0,72-26-73 0 0,-1 0 0 0 0,1 1 0 0 0,0-1 0 0 0,0 0 0 0 0,-1 0 0 0 0,1 0 0 0 0,0 0 0 0 0,0 0-1 0 0,-1 0 1 0 0,1 0 0 0 0,0 0 0 0 0,-1 0 0 0 0,1 0 0 0 0,0 0 0 0 0,0 0 0 0 0,-1 0 0 0 0,1 0-1 0 0,0 0 1 0 0,-1 0 0 0 0,1 0 0 0 0,0 0 0 0 0,0 0 0 0 0,-1-1 0 0 0,1 1 0 0 0,0 0 0 0 0,0 0 0 0 0,-1 0-1 0 0,1 0 1 0 0,0-1 0 0 0,0 1 0 0 0,-1 0 0 0 0,1 0 0 0 0,0 0 0 0 0,0-1 0 0 0,0 1 0 0 0,0 0-1 0 0,-1 0 1 0 0,1-1 0 0 0,0 1 0 0 0,0 0 0 0 0,0 0 0 0 0,0-1 0 0 0,0 1 0 0 0,0 0 0 0 0,0-1 0 0 0,0 1-1 0 0,0 0 1 0 0,0 0 0 0 0,0-1 0 0 0,0 1 0 0 0,0 0 0 0 0,0-1 0 0 0,0 1 0 0 0,5-17-253 0 0,6 2 267 0 0,0 1-1 0 0,23-24 1 0 0,-12 15 32 0 0,-12 11-12 0 0,-2 5 7 0 0,-1-1 0 0 0,0 1 1 0 0,-1-2-1 0 0,0 1 0 0 0,0-1 1 0 0,-1 0-1 0 0,6-13 1 0 0,-11 22-41 0 0,0 0 1 0 0,0-1 0 0 0,0 1-1 0 0,0 0 1 0 0,0 0-1 0 0,1-1 1 0 0,-1 1 0 0 0,0 0-1 0 0,0 0 1 0 0,0-1 0 0 0,0 1-1 0 0,0 0 1 0 0,0 0 0 0 0,0-1-1 0 0,0 1 1 0 0,0 0 0 0 0,0-1-1 0 0,0 1 1 0 0,0 0-1 0 0,0 0 1 0 0,0-1 0 0 0,0 1-1 0 0,-1 0 1 0 0,1 0 0 0 0,0-1-1 0 0,0 1 1 0 0,0 0 0 0 0,0 0-1 0 0,0-1 1 0 0,-1 1-1 0 0,1 0 1 0 0,0 0 0 0 0,0 0-1 0 0,0-1 1 0 0,-1 1 0 0 0,1 0-1 0 0,0 0 1 0 0,0 0 0 0 0,0 0-1 0 0,-1 0 1 0 0,1-1 0 0 0,0 1-1 0 0,-1 0 1 0 0,1 0-1 0 0,0 0 1 0 0,0 0 0 0 0,-1 0-1 0 0,1 0 1 0 0,-17 2-286 0 0,-11 8 296 0 0,1 2-1 0 0,0 0 1 0 0,-46 30-1 0 0,50-29-3 0 0,5-2 27 0 0,-93 49 111 0 0,131-82-1072 0 0,25-12 1055 0 0,32-27 136 0 0,-64 49-231 0 0,-1 1 0 0 0,-1-1-1 0 0,18-25 1 0 0,-27 35-21 0 0,0 0 2 0 0,-1 0-1 0 0,0 0 1 0 0,0 1-1 0 0,1-1 1 0 0,-1 0-1 0 0,0-1 1 0 0,-1 1 0 0 0,1 0-1 0 0,0 0 1 0 0,-1 0-1 0 0,2-5 1 0 0,-2 6-56 0 0,-6 2-7 0 0,1-1 1 0 0,0 1-1 0 0,-1 0 0 0 0,1 0 0 0 0,0 1 0 0 0,0-1 0 0 0,0 1 0 0 0,0 0 0 0 0,-5 4 0 0 0,-42 28 259 0 0,22-14-184 0 0,-40 24 130 0 0,69-43-136 0 0,2-7-119 0 0,0 0 82 0 0,1 0 0 0 0,-1 1 1 0 0,1-1-1 0 0,0 1 0 0 0,1-1 1 0 0,0 1-1 0 0,0 0 0 0 0,0 0 1 0 0,0 0-1 0 0,1 0 0 0 0,5-5 1 0 0,8-14-16 0 0,-12 16 72 0 0,0 0-1 0 0,-1 0 1 0 0,0-1-1 0 0,0 1 1 0 0,-1-1-1 0 0,0 0 1 0 0,0 0-1 0 0,-1 0 1 0 0,-1 0-1 0 0,1-1 1 0 0,-1 1-1 0 0,-1-10 1 0 0,0 18-50 0 0,0 1 0 0 0,0-1 0 0 0,-1 1 0 0 0,1-1 0 0 0,0 1 0 0 0,0-1 0 0 0,-1 1 1 0 0,1 0-1 0 0,0-1 0 0 0,-1 1 0 0 0,1-1 0 0 0,0 1 0 0 0,-1 0 0 0 0,1-1 0 0 0,0 1 0 0 0,-1 0 1 0 0,1 0-1 0 0,-1-1 0 0 0,1 1 0 0 0,-1 0 0 0 0,1 0 0 0 0,-1 0 0 0 0,1-1 0 0 0,-1 1 0 0 0,1 0 0 0 0,-1 0 1 0 0,1 0-1 0 0,-1 0 0 0 0,1 0 0 0 0,-1 0 0 0 0,0 0 0 0 0,-21 0-15 0 0,17 1 81 0 0,-2-1-30 0 0,0 1-1 0 0,0 0 0 0 0,0 0 1 0 0,0 0-1 0 0,0 1 1 0 0,1 0-1 0 0,-9 4 0 0 0,-43 25 137 0 0,31-16-92 0 0,27-17-132 0 0,-1-1 0 0 0,1 1 0 0 0,0-1 0 0 0,0 1-1 0 0,0-1 1 0 0,0 1 0 0 0,0-1 0 0 0,1-3 0 0 0,20-51 610 0 0,-15 42-512 0 0,0-1 0 0 0,7-28 0 0 0,-11 26 31 0 0,-1 0 0 0 0,0-28 0 0 0,-2 25-84 0 0,1 20-51 0 0,-3 8-410 0 0,-16 37 698 0 0,13-28-143 0 0,-16 29 0 0 0,23-51-83 0 0,-1 1 1 0 0,1 0-1 0 0,-1-1 0 0 0,-1-8 0 0 0,0-4 161 0 0,7-65 182 0 0,-4 80-625 0 0,-1 2 299 0 0,-1 0-1 0 0,0 0 1 0 0,1 0 0 0 0,-1 0-1 0 0,0 0 1 0 0,1 0 0 0 0,-1 0-1 0 0,0 0 1 0 0,0 0 0 0 0,0 0-1 0 0,0 0 1 0 0,0-2 0 0 0,-1-24 492 0 0,1 16-435 0 0,0 1 28 0 0,-1 8-111 0 0,1 0 1 0 0,0 0 0 0 0,0-1 0 0 0,0 1-1 0 0,0 0 1 0 0,0 0 0 0 0,0 0-1 0 0,0 0 1 0 0,1 0 0 0 0,-1 0 0 0 0,1 0-1 0 0,0 0 1 0 0,-1 0 0 0 0,1 0-1 0 0,0 0 1 0 0,0 0 0 0 0,0 0 0 0 0,1 0-1 0 0,-1 1 1 0 0,0-1 0 0 0,1 0-1 0 0,-1 1 1 0 0,2-2 0 0 0,8-8 37 0 0,-10 9-19 0 0,0 1 0 0 0,0 0 0 0 0,0 0-1 0 0,0-1 1 0 0,0 1 0 0 0,1 0 0 0 0,-1 0 0 0 0,0 0-1 0 0,1 0 1 0 0,-1 0 0 0 0,0 0 0 0 0,1 1 0 0 0,-1-1-1 0 0,1 0 1 0 0,2 0 0 0 0,-3 12-1105 0 0,-2 86 1344 0 0,2 109-5 0 0,1-185-186 0 0,2-1 1 0 0,5 22 0 0 0,3 9 53 0 0,1 32 187 0 0,11 55 169 0 0,-13-89-382 0 0,45 242 635 0 0,-48-125-293 0 0,-6-56-145 0 0,0 149 321 0 0,-3-136-295 0 0,1 455 184 0 0,13-324-411 0 0,-6-141-53 0 0,3 39 50 0 0,-3-56-22 0 0,6 34 0 0 0,4-2 97 0 0,-5-63-105 0 0,5 88-1 0 0,-12 68-22 0 0,-5 321 16 0 0,-5-441-13 0 0,1-44-19 0 0,-3 28-7 0 0,-1 65 19 0 0,8 1077-156 0 0,2-1197 139 0 0,1 0 0 0 0,2 0-1 0 0,13 48 1 0 0,-11-52-1 0 0,33 146 9 0 0,-34-147-17 0 0,0-1 0 0 0,17 38-1 0 0,-10-29-6 0 0,-10-24 9 0 0,2 3 17 0 0,0 2-1 0 0,-1-1 1 0 0,-1 0-1 0 0,3 19 1 0 0,1 206 43 0 0,-7-234-50 0 0,-1 1 0 0 0,0-1 0 0 0,1 0 1 0 0,-2 1-1 0 0,1-1 0 0 0,0 0 0 0 0,-1 0 0 0 0,0 0 1 0 0,0 0-1 0 0,-4 6 0 0 0,-29 37 2 0 0,26-37 15 0 0,1 0-19 0 0,1-1-1 0 0,0 0-1 0 0,0 0 1 0 0,-1-1 0 0 0,0-1 0 0 0,-1 1 0 0 0,-10 7 0 0 0,15-14-42 0 0,-1 0 0 0 0,1-1 0 0 0,0 1 0 0 0,0-1 0 0 0,-1 1 0 0 0,1-1 0 0 0,0-1 0 0 0,-1 1 0 0 0,1 0 0 0 0,0-1 0 0 0,0 0 0 0 0,-6-2 0 0 0,5 0 22 0 0,0 0 0 0 0,1 0 0 0 0,0-1 1 0 0,-1 0-1 0 0,1 0 0 0 0,1 0 1 0 0,-1 0-1 0 0,0 0 0 0 0,1-1 0 0 0,0 1 1 0 0,-4-8-1 0 0,2 1-8 0 0,0 1-1 0 0,1-1 0 0 0,0 0 1 0 0,-4-17-1 0 0,0-13 5 0 0,-3-82 0 0 0,11-44-189 0 0,1 73-98 0 0,-1 49 313 0 0,0 47-127 0 0,0 93 116 0 0,-23 186 1 0 0,20-263 25 0 0,-1 26 0 0 0,4-484-161 0 0,0 439 135 0 0,0 2-34 0 0,1 1 34 0 0,-1-1 0 0 0,1 0 0 0 0,-1 1 0 0 0,1-1 0 0 0,-1 1 0 0 0,0-1 0 0 0,0 0 0 0 0,0 1 0 0 0,0-1 0 0 0,0 3 0 0 0,0-4 14 0 0,0 18 58 0 0,0-16-14 0 0,0-5 7 0 0,0-29 152 0 0,0 8-138 0 0,0-13-49 0 0,-3 0-1 0 0,0 0 1 0 0,-3 1-1 0 0,-1-1 1 0 0,-17-51-1 0 0,-66-160 5 0 0,-6-22-29 0 0,8-33 66 0 0,68 218-100 0 0,-14-140 0 0 0,32 204 67 0 0,2 15 26 0 0,0 0 1 0 0,0 0-1 0 0,-1 0 1 0 0,0 0-1 0 0,0 0 0 0 0,0 0 1 0 0,-1 1-1 0 0,-4-11 8 0 0,4 14 50 0 0,0 6 99 0 0,-7 326 87 0 0,5-263-262 0 0,4-65-59 0 0,0-5-42 0 0,0-14 39 0 0,1 1 1 0 0,0 0 0 0 0,1 1-1 0 0,1-1 1 0 0,7-21-1 0 0,6-21 61 0 0,-3-1 0 0 0,9-107-1 0 0,-10-125-146 0 0,-8 131 15 0 0,-4 141 90 0 0,-1 14 8 0 0,1-1 1 0 0,1 0-1 0 0,-1 1 1 0 0,1-1-1 0 0,2-10 0 0 0,-1 14-40 0 0,0 8-36 0 0,5 23 56 0 0,-2 0 0 0 0,3 46 0 0 0,-5 63 207 0 0,-3-124-169 0 0,7-19-116 0 0,4-21 137 0 0,-1 0 0 0 0,-1 0-1 0 0,-1-1 1 0 0,7-44 0 0 0,-6 8 1 0 0,0-75 1 0 0,-9-67 12 0 0,-1 95-60 0 0,1-25-60 0 0,3 175 14 0 0,2-1 0 0 0,13 58-1 0 0,-3-21 82 0 0,-7-30-14 0 0,17 57-1 0 0,-18-89-25 0 0,-7-14 12 0 0,0 0 1 0 0,0 1-1 0 0,0-1 0 0 0,0 0 0 0 0,1 0 0 0 0,-1 1 1 0 0,0-1-1 0 0,0 0 0 0 0,0 0 0 0 0,0 0 0 0 0,1 1 1 0 0,-1-1-1 0 0,0 0 0 0 0,0 0 0 0 0,1 0 0 0 0,-1 0 1 0 0,0 0-1 0 0,0 1 0 0 0,1-1 0 0 0,-1 0 0 0 0,0 0 1 0 0,0 0-1 0 0,1 0 0 0 0,-1 0 0 0 0,0 0 0 0 0,0 0 0 0 0,1 0 1 0 0,-1 0-1 0 0,0 0 0 0 0,1 0 0 0 0,-1 0 0 0 0,0 0 1 0 0,0 0-1 0 0,1 0 0 0 0,-1 0 0 0 0,0-1 0 0 0,0 1 1 0 0,1 0-1 0 0,-1 0 0 0 0,0 0 0 0 0,0 0 0 0 0,1 0 1 0 0,-1-1-1 0 0,0 1 0 0 0,0 0 0 0 0,0 0 0 0 0,1 0 1 0 0,-1-1-1 0 0,0 1 0 0 0,0 0 0 0 0,0 0 0 0 0,0-1 1 0 0,0 1-1 0 0,0 0 0 0 0,1 0 0 0 0,-1-1 0 0 0,0 1 0 0 0,0 0 1 0 0,0 0-1 0 0,0-1 0 0 0,0 1 0 0 0,0 0 0 0 0,0-1 1 0 0,6-16 13 0 0,0 0 0 0 0,-2 0 1 0 0,0-1-1 0 0,3-23 0 0 0,1-77 284 0 0,-7 109-324 0 0,2-207 157 0 0,-3 189-191 0 0,8 49-458 0 0,23 72 345 0 0,25 68 296 0 0,-56-161-122 0 0,2 4 0 0 0,1 0 0 0 0,-1 0 0 0 0,0 0 0 0 0,5 6 0 0 0,-7-10-2 0 0,1-1 1 0 0,-1 1-1 0 0,1 0 1 0 0,-1-1 0 0 0,0 1-1 0 0,1-1 1 0 0,-1 1-1 0 0,1-1 1 0 0,-1 1-1 0 0,1-1 1 0 0,0 1 0 0 0,-1-1-1 0 0,1 0 1 0 0,-1 1-1 0 0,1-1 1 0 0,0 0 0 0 0,-1 1-1 0 0,1-1 1 0 0,0 0-1 0 0,0 0 1 0 0,-1 0 0 0 0,1 0-1 0 0,0 1 1 0 0,-1-1-1 0 0,1 0 1 0 0,0 0-1 0 0,0 0 1 0 0,-1-1 0 0 0,1 1-1 0 0,0 0 1 0 0,-1 0-1 0 0,1 0 1 0 0,0 0 0 0 0,-1-1-1 0 0,1 1 1 0 0,0 0-1 0 0,-1-1 1 0 0,1 1 0 0 0,0 0-1 0 0,-1-1 1 0 0,1 1-1 0 0,-1-1 1 0 0,1 0-1 0 0,3-4-25 0 0,0 1 0 0 0,-1-1 0 0 0,0 0-1 0 0,0-1 1 0 0,2-5 0 0 0,1-2 95 0 0,4-8-14 0 0,-1-1 0 0 0,0-1 0 0 0,-2 0 0 0 0,-1 0-1 0 0,0 0 1 0 0,-2 0 0 0 0,-1-1 0 0 0,1-35 0 0 0,-4 115-220 0 0,-15 111 0 0 0,-13-15 197 0 0,-70 213 1 0 0,98-403-327 0 0,6 2 343 0 0,10-39 0 0 0,4-23 20 0 0,-8-12-95 0 0,-6-172 1 0 0,-7 199-94 0 0,-1 59 45 0 0,-1 52-79 0 0,4 52-1 0 0,0-25 147 0 0,-1-7-5 0 0,10 559 193 0 0,-8-529-127 0 0,-2-36-20 0 0,2 0 0 0 0,1-1 1 0 0,14 62-1 0 0,-16-100-31 0 0,0 1 0 0 0,1 0 0 0 0,-1 0 1 0 0,1 0-1 0 0,0-1 0 0 0,0 1 0 0 0,0-1 1 0 0,0 1-1 0 0,0-1 0 0 0,1 0 0 0 0,-1 0 1 0 0,5 3-1 0 0,-5-4-12 0 0,0-1 1 0 0,0 0-1 0 0,-1 0 1 0 0,1 0-1 0 0,0 0 0 0 0,1 0 1 0 0,-1-1-1 0 0,0 1 1 0 0,0 0-1 0 0,0-1 1 0 0,0 0-1 0 0,0 1 0 0 0,1-1 1 0 0,-1 0-1 0 0,0 0 1 0 0,0-1-1 0 0,0 1 0 0 0,1 0 1 0 0,-1-1-1 0 0,0 1 1 0 0,0-1-1 0 0,0 1 1 0 0,3-3-1 0 0,4-2-25 0 0,-1 0 1 0 0,0-1 0 0 0,0 0-1 0 0,0 0 1 0 0,-1-1-1 0 0,0 0 1 0 0,11-14-1 0 0,-12 15 49 0 0,99-122 173 0 0,2-2-124 0 0,-79 99-43 0 0,62-53 1 0 0,-86 81-27 0 0,0-1 1 0 0,0 1 0 0 0,1-1-1 0 0,-1 1 1 0 0,1 1 0 0 0,0-1 0 0 0,0 1-1 0 0,0 0 1 0 0,0 0 0 0 0,10-3 0 0 0,-14 5 0 0 0,-1 0 1 0 0,1 0 0 0 0,0 0-1 0 0,-1 0 1 0 0,1 0 0 0 0,-1 0 0 0 0,1 0-1 0 0,-1 0 1 0 0,1 0 0 0 0,0 0-1 0 0,-1 0 1 0 0,1 0 0 0 0,-1 0 0 0 0,1 1-1 0 0,-1-1 1 0 0,1 0 0 0 0,-1 0 0 0 0,1 1-1 0 0,-1-1 1 0 0,1 0 0 0 0,-1 1-1 0 0,1-1 1 0 0,-1 0 0 0 0,1 1 0 0 0,-1-1-1 0 0,0 1 1 0 0,1-1 0 0 0,-1 0-1 0 0,0 1 1 0 0,1-1 0 0 0,-1 2 0 0 0,3 18-65 0 0,-3-13 57 0 0,2 35 85 0 0,-2-1-1 0 0,-1 1 0 0 0,-2-1 1 0 0,-13 58-1 0 0,-8-12-14 0 0,-37 86-1 0 0,-47 76 282 0 0,106-246-358 0 0,2-7-139 0 0,1 0 142 0 0,-1 0 0 0 0,1 0 0 0 0,-1 0 0 0 0,1 1-1 0 0,0-1 1 0 0,1 0 0 0 0,-1 1 0 0 0,1-1 0 0 0,1-3 0 0 0,24-34 83 0 0,-14 23-53 0 0,10-18 6 0 0,3 2 0 0 0,0 1 0 0 0,3 1 1 0 0,55-50-1 0 0,-82 80-24 0 0,0 0-1 0 0,1 1 1 0 0,-1-1 0 0 0,0 0 0 0 0,1 1 0 0 0,-1 0-1 0 0,1-1 1 0 0,-1 1 0 0 0,1 0 0 0 0,0 0 0 0 0,0 1 0 0 0,-1-1-1 0 0,1 0 1 0 0,0 1 0 0 0,3 0 0 0 0,-5 0-1 0 0,0 0 0 0 0,-1 0 0 0 0,1 1 0 0 0,0-1 1 0 0,0 0-1 0 0,-1 1 0 0 0,1-1 0 0 0,0 0 0 0 0,-1 1 0 0 0,1-1 0 0 0,0 1 1 0 0,-1 0-1 0 0,1-1 0 0 0,-1 1 0 0 0,1-1 0 0 0,-1 1 0 0 0,1 0 0 0 0,-1-1 0 0 0,1 1 1 0 0,-1 0-1 0 0,0 0 0 0 0,1-1 0 0 0,-1 1 0 0 0,0 0 0 0 0,0 0 0 0 0,1 0 1 0 0,-1-1-1 0 0,0 1 0 0 0,0 0 0 0 0,0 0 0 0 0,0 0 0 0 0,0 0 0 0 0,0 39 47 0 0,-1-26-8 0 0,2 7 2 0 0,-2-1-1 0 0,0 0 0 0 0,-1 0 1 0 0,-1-1-1 0 0,-1 1 0 0 0,-1 0 1 0 0,-8 20-1 0 0,-25 46 18 0 0,-4-2-1 0 0,-79 119 1 0 0,111-190-148 0 0,24-41-878 0 0,20-12 1017 0 0,2 2 1 0 0,1 1 0 0 0,2 2-1 0 0,43-30 1 0 0,-73 58-48 0 0,0 0 0 0 0,0 1 0 0 0,1 0 0 0 0,0 1 0 0 0,0-1 0 0 0,0 2 0 0 0,1 0 0 0 0,14-4 0 0 0,-24 8-1 0 0,-1-1-1 0 0,1 1 1 0 0,0 0 0 0 0,-1 0 0 0 0,1 0 0 0 0,0 0 0 0 0,-1 0 0 0 0,1 0 0 0 0,0 0 0 0 0,0 0-1 0 0,-1 0 1 0 0,1 0 0 0 0,0 0 0 0 0,-1 0 0 0 0,1 1 0 0 0,0-1 0 0 0,-1 0 0 0 0,1 1-1 0 0,-1-1 1 0 0,1 0 0 0 0,0 1 0 0 0,-1-1 0 0 0,1 0 0 0 0,-1 1 0 0 0,1-1 0 0 0,-1 1 0 0 0,1-1-1 0 0,-1 1 1 0 0,1-1 0 0 0,-1 1 0 0 0,0 0 0 0 0,1-1 0 0 0,0 2 0 0 0,-1 1-1 0 0,1 0 1 0 0,-1 0-1 0 0,1 0 1 0 0,-1 0-1 0 0,0 0 1 0 0,0 4-1 0 0,0 0 31 0 0,0 4-5 0 0,0-1 0 0 0,0 1 1 0 0,-1 0-1 0 0,0 0 0 0 0,-1-1 0 0 0,0 1 0 0 0,-1-1 0 0 0,0 0 0 0 0,-1 1 0 0 0,0-1 1 0 0,-6 9-1 0 0,-33 45 87 0 0,-2-1 1 0 0,-61 61 0 0 0,39-46 130 0 0,31-39-115 0 0,23-26-91 0 0,1 0 0 0 0,1 0 0 0 0,-11 18 0 0 0,23-39-277 0 0,3-6 30 0 0,6-1 153 0 0,1 1-1 0 0,0 1 0 0 0,18-16 1 0 0,-13 13 88 0 0,87-85 109 0 0,125-95 1 0 0,-216 187-190 0 0,25-15 1 0 0,-37 27-152 0 0,-1 0 204 0 0,0 0 0 0 0,-1 1 0 0 0,1-1 0 0 0,0 0 0 0 0,-1 0 0 0 0,0 0-1 0 0,0 0 1 0 0,0-1 0 0 0,0 1 0 0 0,0-1 0 0 0,-1 1 0 0 0,1-1 0 0 0,-1 0 0 0 0,-2 3-1 0 0,-6 5 6 0 0,-219 206-35 0 0,-93 90 750 0 0,315-300-699 0 0,5-6-61 0 0,7-16-147 0 0,-4 15 185 0 0,5-13-69 0 0,1 0 1 0 0,1 1-1 0 0,0-1 1 0 0,1 1-1 0 0,18-22 1 0 0,3-6 117 0 0,88-154 40 0 0,-107 175-71 0 0,-18 32 163 0 0,-13 19-82 0 0,-8 4-84 0 0,2 1-1 0 0,1 1 1 0 0,2 1 0 0 0,-23 50-1 0 0,46-85 2 0 0,0 0 0 0 0,0-1-1 0 0,0 1 1 0 0,1 1 0 0 0,-1-1-1 0 0,1 0 1 0 0,-1 5 0 0 0,3-6-96 0 0,4-5 27 0 0,-4 2 35 0 0,47-30 116 0 0,-2-3 1 0 0,58-51 0 0 0,-64 50-70 0 0,429-322 272 0 0,-468 355-298 0 0,5-3 4 0 0,1 0 0 0 0,0 0-1 0 0,-1 0 1 0 0,18-5 0 0 0,-25 9-6 0 0,0 1 0 0 0,0 0 0 0 0,0 0 0 0 0,0 0 0 0 0,1 0 0 0 0,-1 0 0 0 0,0 0 0 0 0,0 0 0 0 0,0 0 0 0 0,0 0 1 0 0,0 0-1 0 0,1 0 0 0 0,-1 0 0 0 0,0 0 0 0 0,0 0 0 0 0,0 0 0 0 0,0 0 0 0 0,1 0 0 0 0,-1 0 0 0 0,0 0 0 0 0,0 0 0 0 0,0 0 0 0 0,0 0 0 0 0,0 0 0 0 0,1 0 0 0 0,-1 0 0 0 0,0 0 1 0 0,0 0-1 0 0,0 0 0 0 0,0 0 0 0 0,0 0 0 0 0,0 0 0 0 0,1 0 0 0 0,-1 1 0 0 0,0-1 0 0 0,0 0 0 0 0,0 0 0 0 0,0 0 0 0 0,0 0 0 0 0,0 0 0 0 0,0 0 0 0 0,0 1 0 0 0,0-1 1 0 0,0 0-1 0 0,1 0 0 0 0,-1 0 0 0 0,0 0 0 0 0,0 0 0 0 0,0 1 0 0 0,0-1 0 0 0,0 0 0 0 0,0 0 0 0 0,0 0 0 0 0,0 0 0 0 0,0 1 0 0 0,0-1 0 0 0,0 0 0 0 0,0 0 0 0 0,0 5-3 0 0,0 1 0 0 0,-1-1 0 0 0,1 0 0 0 0,-1 1 1 0 0,0-1-1 0 0,0 0 0 0 0,0 0 0 0 0,-1 0 0 0 0,0 0 0 0 0,0 0 0 0 0,-4 7 0 0 0,-5 7 61 0 0,-20 27 0 0 0,30-45-56 0 0,-253 312 20 0 0,62-82 4 0 0,150-180 36 0 0,24-30 3 0 0,1 0 0 0 0,1 1 0 0 0,1 0 0 0 0,-14 28 0 0 0,20-27 7 0 0,9-21-69 0 0,3-3-35 0 0,9-7-31 0 0,0 0 0 0 0,-1-1 0 0 0,11-11 0 0 0,2-2 29 0 0,296-282 206 0 0,-60 53-23 0 0,-253 245-146 0 0,143-128 75 0 0,5 16-49 0 0,-124 101-82 0 0,-22 15-108 0 0,-8 11-31 0 0,-1-5 154 0 0,0 3 40 0 0,-1 0 0 0 0,0 0 0 0 0,0 0 1 0 0,0 0-1 0 0,-1-1 0 0 0,0 1 0 0 0,-1 0 0 0 0,1-1 1 0 0,-8 12-1 0 0,-4 5 18 0 0,-25 28 1 0 0,35-45-18 0 0,-400 455 25 0 0,210-249 67 0 0,145-159-44 0 0,-35 43 280 0 0,253-287-638 0 0,-89 106 372 0 0,103-114 35 0 0,298-319 75 0 0,-363 403-284 0 0,-95 97 14 0 0,-19 16 8 0 0,-4 7-23 0 0,0 2 97 0 0,-1 0 0 0 0,0 0 0 0 0,0 0 0 0 0,-1-1 0 0 0,0 1 0 0 0,0-1 0 0 0,0 1 0 0 0,-1-1 0 0 0,0 1 0 0 0,-4 5 0 0 0,-8 11 75 0 0,-23 27 0 0 0,22-29-70 0 0,-280 335 53 0 0,-17-13 57 0 0,132-147 112 0 0,171-184-189 0 0,-64 74 201 0 0,122-147-586 0 0,137-136 455 0 0,-76 84-10 0 0,-16 14-36 0 0,183-190 36 0 0,-212 226-94 0 0,125-120 29 0 0,-149 151-52 0 0,-24 26-57 0 0,-12 10-23 0 0,-5 7-72 0 0,-5 4 182 0 0,1-1 0 0 0,-2 0 0 0 0,0 0 0 0 0,0-1 0 0 0,-1 0 0 0 0,-1 0 0 0 0,-10 12 0 0 0,-389 455 223 0 0,319-382-167 0 0,-65 66-18 0 0,-44 51 259 0 0,179-189-206 0 0,49-54-198 0 0,571-565 336 0 0,-582 574-228 0 0,427-420 32 0 0,-422 417-31 0 0,-24 22 2 0 0,0 0 0 0 0,0 0 0 0 0,0 0 0 0 0,0 0 0 0 0,0 0 0 0 0,0 0 0 0 0,0 0 0 0 0,0 0 0 0 0,0 0 0 0 0,0 1-1 0 0,0-1 1 0 0,0 0 0 0 0,0 0 0 0 0,0 0 0 0 0,0 0 0 0 0,0 0 0 0 0,0 0 0 0 0,0 0 0 0 0,0 0 0 0 0,0 0 0 0 0,0 1 0 0 0,0-1 0 0 0,0 0 0 0 0,0 0-1 0 0,0 0 1 0 0,0 0 0 0 0,0 0 0 0 0,0 0 0 0 0,0 0 0 0 0,0 0 0 0 0,0 0 0 0 0,0 0 0 0 0,0 0 0 0 0,1 0 0 0 0,-1 1 0 0 0,0-1 0 0 0,0 0 0 0 0,0 0-1 0 0,0 0 1 0 0,0 0 0 0 0,0 0 0 0 0,0 0 0 0 0,0 0 0 0 0,0 0 0 0 0,0 0 0 0 0,1 0 0 0 0,-1 0 0 0 0,0 0 0 0 0,0 0 0 0 0,0 0 0 0 0,0 0 0 0 0,0 0-1 0 0,0 0 1 0 0,0 0 0 0 0,0 0 0 0 0,0 0 0 0 0,1 0 0 0 0,-1 0 0 0 0,-4 12 67 0 0,-8 6-10 0 0,-1 0-1 0 0,-1 0 1 0 0,0-1-1 0 0,-21 19 1 0 0,33-34-57 0 0,-152 161 2 0 0,-109 109 36 0 0,-24 1-49 0 0,102-98-6 0 0,146-135 32 0 0,29-28-23 0 0,10-12 6 0 0,0 0 0 0 0,0 0 1 0 0,0 0-1 0 0,0 0 0 0 0,0 0 0 0 0,0 0 0 0 0,0 0 1 0 0,0 0-1 0 0,0 0 0 0 0,0 0 0 0 0,0 0 0 0 0,0 0 1 0 0,0 0-1 0 0,1 0 0 0 0,-1 0 0 0 0,438-376-29 0 0,-304 258 43 0 0,353-289 8 0 0,-474 397-19 0 0,-8 7-5 0 0,-1-1 0 0 0,1 1 0 0 0,0 0 0 0 0,0 1 0 0 0,6-4 0 0 0,-9 6-26 0 0,-2 5 20 0 0,-2 0 25 0 0,1-1 0 0 0,0 0 1 0 0,-1 1-1 0 0,0-1 0 0 0,0 0 0 0 0,0 0 1 0 0,-5 7-1 0 0,-27 30 40 0 0,-103 113-13 0 0,-242 261 0 0 0,-134 85-185 0 0,461-449 184 0 0,41-39 85 0 0,27-24-119 0 0,-6 3-33 0 0,76-59-141 0 0,800-726 246 0 0,-453 389-65 0 0,-419 394-46 0 0,-14 11 33 0 0,0 0-1 0 0,0 0 1 0 0,0 1-1 0 0,0-1 0 0 0,0 0 1 0 0,0 0-1 0 0,0 0 1 0 0,0 0-1 0 0,0 0 0 0 0,0 0 1 0 0,0 0-1 0 0,0 0 1 0 0,0 0-1 0 0,0 0 0 0 0,0 0 1 0 0,0 0-1 0 0,0 0 1 0 0,1 0-1 0 0,-1 0 0 0 0,0 0 1 0 0,0 0-1 0 0,0 0 1 0 0,0 0-1 0 0,0 0 0 0 0,0 0 1 0 0,0 0-1 0 0,0 0 1 0 0,0 0-1 0 0,0 0 0 0 0,0 0 1 0 0,0 0-1 0 0,0 0 1 0 0,0 0-1 0 0,0 0 0 0 0,1 0 1 0 0,-1 0-1 0 0,0 0 1 0 0,0 0-1 0 0,0 0 0 0 0,0 0 1 0 0,0 0-1 0 0,0 0 1 0 0,0 0-1 0 0,0 0 0 0 0,0 0 1 0 0,0 0-1 0 0,0 0 1 0 0,0 0-1 0 0,0 0 0 0 0,0 0 1 0 0,0 0-1 0 0,-17 23 68 0 0,-114 108 26 0 0,39-43-98 0 0,-415 438-19 0 0,204-209 58 0 0,260-271-26 0 0,118-113-509 0 0,602-542 362 0 0,-229 237 150 0 0,-434 363 6 0 0,-14 9-16 0 0,-1 0 1 0 0,1 0-1 0 0,0 0 0 0 0,0 0 0 0 0,0 0 0 0 0,0 0 0 0 0,0 0 1 0 0,0 0-1 0 0,0 0 0 0 0,0 0 0 0 0,0 0 0 0 0,0 0 0 0 0,0 0 0 0 0,0 1 1 0 0,0-1-1 0 0,0 0 0 0 0,0 0 0 0 0,0 0 0 0 0,0 0 0 0 0,0 0 1 0 0,0 0-1 0 0,0 0 0 0 0,0 0 0 0 0,0 0 0 0 0,0 0 0 0 0,0 0 1 0 0,0 1-1 0 0,0-1 0 0 0,0 0 0 0 0,0 0 0 0 0,0 0 0 0 0,0 0 0 0 0,0 0 1 0 0,0 0-1 0 0,0 0 0 0 0,0 0 0 0 0,0 0 0 0 0,0 0 0 0 0,0 0 1 0 0,0 0-1 0 0,0 1 0 0 0,0-1 0 0 0,0 0 0 0 0,0 0 0 0 0,0 0 1 0 0,0 0-1 0 0,0 0 0 0 0,0 0 0 0 0,0 0 0 0 0,0 0 0 0 0,1 0 0 0 0,-1 0 1 0 0,0 0-1 0 0,0 0 0 0 0,0 0 0 0 0,0 0 0 0 0,0 0 0 0 0,0 0 1 0 0,0 0-1 0 0,0 0 0 0 0,0 0 0 0 0,0 0 0 0 0,0 0 0 0 0,1 0 1 0 0,-1 0-1 0 0,0 0 0 0 0,0 0 0 0 0,0 0 0 0 0,0 0 0 0 0,-19 25 226 0 0,-65 55-19 0 0,34-33-216 0 0,-736 784 27 0 0,780-825-15 0 0,-16 19 23 0 0,-26 39 1 0 0,74-88-354 0 0,372-346 73 0 0,263-216 338 0 0,-596 537-95 0 0,-65 50 12 0 0,0-1 1 0 0,0 0-1 0 0,0 0 0 0 0,0 0 1 0 0,0 0-1 0 0,0 0 1 0 0,0 0-1 0 0,0 0 1 0 0,0 0-1 0 0,0 0 1 0 0,0 0-1 0 0,0 0 1 0 0,0 0-1 0 0,0 0 1 0 0,0 1-1 0 0,0-1 1 0 0,0 0-1 0 0,0 0 1 0 0,0 0-1 0 0,0 0 1 0 0,0 0-1 0 0,0 0 1 0 0,0 0-1 0 0,0 0 0 0 0,0 0 1 0 0,0 0-1 0 0,1 0 1 0 0,-1 0-1 0 0,0 0 1 0 0,0 0-1 0 0,0 0 1 0 0,0 0-1 0 0,0 0 1 0 0,0 0-1 0 0,0 0 1 0 0,0 0-1 0 0,0 0 1 0 0,0 0-1 0 0,0 0 1 0 0,0 0-1 0 0,0 0 1 0 0,1 0-1 0 0,-1 0 1 0 0,0 0-1 0 0,0 0 0 0 0,0 0 1 0 0,0 0-1 0 0,0 0 1 0 0,0 0-1 0 0,0 0 1 0 0,0 0-1 0 0,0 0 1 0 0,0 0-1 0 0,-4 9 182 0 0,-17 17-26 0 0,-1-2 1 0 0,-39 35-1 0 0,1-1-155 0 0,-437 472 7 0 0,187-195-79 0 0,248-267 96 0 0,45-51-71 0 0,21-23-16 0 0,22-26-71 0 0,123-117-34 0 0,-95 98 170 0 0,910-832 67 0 0,-933 856 96 0 0,-45 42 34 0 0,0 0 0 0 0,-21 17 0 0 0,22-21-181 0 0,-345 327-170 0 0,14 15-202 0 0,271-278 304 0 0,-9 9 29 0 0,-194 213 121 0 0,331-344-375 0 0,49-46 155 0 0,1007-860-46 0 0,-972 837 11 0 0,-159 125 960 0 0,-92 72-614 0 0,-134 126-1 0 0,-86 113-370 0 0,331-319 178 0 0,-5 6-5 0 0,-509 531-259 0 0,472-486 279 0 0,40-46-61 0 0,10-9-14 0 0,20-16-85 0 0,789-681-34 0 0,-702 599 177 0 0,-108 96 1 0 0,326-304 107 0 0,-321 300 4 0 0,-20 21 485 0 0,-98 88-146 0 0,17-16-502 0 0,-601 607-180 0 0,508-496 290 0 0,159-167-43 0 0,22-22-99 0 0,37-35-208 0 0,-18 14 213 0 0,220-189-58 0 0,627-559 61 0 0,-754 652 92 0 0,-102 102-11 0 0,-7 8-2 0 0,1 0 1 0 0,-1 0 0 0 0,0 0 0 0 0,0-1 0 0 0,0 1 0 0 0,1-1 0 0 0,-2 1 0 0 0,1-1 0 0 0,0 1 0 0 0,0-1 0 0 0,0 1 0 0 0,-1-1 0 0 0,1 0 0 0 0,0 1 0 0 0,-1-1 0 0 0,1-3 0 0 0,-5 8 126 0 0,-17 18 183 0 0,-25 19 0 0 0,28-24-261 0 0,-431 406-297 0 0,418-392 223 0 0,-359 377-167 0 0,377-393 197 0 0,-11 12-1 0 0,4-7 4 0 0,1 2 0 0 0,1 0 0 0 0,-25 41-1 0 0,42-61-11 0 0,0 0 0 0 0,1 0 0 0 0,-1-1 0 0 0,1 1 0 0 0,-1 0 0 0 0,1 0 0 0 0,-1 0 0 0 0,1 0 0 0 0,-1 0 0 0 0,1 0 0 0 0,0 0 0 0 0,0 0 0 0 0,0 0 0 0 0,-1 0 0 0 0,1 0 0 0 0,0 0 0 0 0,0 0 0 0 0,1 2 0 0 0,0-4-18 0 0,1 1 1 0 0,0 0-1 0 0,0-1 1 0 0,-1 0 0 0 0,1 1-1 0 0,0-1 1 0 0,0 0-1 0 0,-1 0 1 0 0,1 0 0 0 0,-1 0-1 0 0,1 0 1 0 0,-1 0-1 0 0,3-2 1 0 0,384-298-360 0 0,-5-19 204 0 0,-358 299 174 0 0,233-210 10 0 0,-247 219 222 0 0,-29 29 176 0 0,12-12-330 0 0,-75 70 149 0 0,-61 59-304 0 0,84-76 59 0 0,-282 309-127 0 0,330-355 144 0 0,2 0 0 0 0,-14 23 0 0 0,21-33 1 0 0,0-1 0 0 0,1 0 0 0 0,-1 1-1 0 0,0-1 1 0 0,1 1 0 0 0,-1-1 0 0 0,1 0 0 0 0,0 1-1 0 0,0-1 1 0 0,-1 1 0 0 0,1-1 0 0 0,0 1 0 0 0,0-1-1 0 0,0 1 1 0 0,0-1 0 0 0,1 2 0 0 0,-1-2-2 0 0,0-1-1 0 0,1 0 1 0 0,-1 1 0 0 0,0-1 0 0 0,0 0-1 0 0,1 0 1 0 0,-1 0 0 0 0,0 1 0 0 0,1-1-1 0 0,-1 0 1 0 0,0 0 0 0 0,1 0 0 0 0,-1 0-1 0 0,0 0 1 0 0,1 0 0 0 0,-1 0 0 0 0,0 1-1 0 0,1-1 1 0 0,-1 0 0 0 0,0 0 0 0 0,1 0-1 0 0,-1 0 1 0 0,1-1 0 0 0,-1 1 0 0 0,0 0 0 0 0,1 0-1 0 0,-1 0 1 0 0,22-10-161 0 0,66-49-288 0 0,646-532-64 0 0,-717 576 499 0 0,-2 2 10 0 0,1-1 0 0 0,-2-1 0 0 0,24-31 473 0 0,-43 48-269 0 0,-10 9 54 0 0,-149 119-261 0 0,7 8 0 0 0,-187 209 0 0 0,330-333 8 0 0,1 1 0 0 0,0 1 1 0 0,1 0-1 0 0,1 1 0 0 0,-16 31 0 0 0,25-37-27 0 0,2-11 23 0 0,1 0 1 0 0,-1 1 0 0 0,0-1 0 0 0,1 0-1 0 0,-1 0 1 0 0,0 1 0 0 0,1-1-1 0 0,-1 0 1 0 0,0 0 0 0 0,1 0 0 0 0,-1 0-1 0 0,1 1 1 0 0,-1-1 0 0 0,1 0 0 0 0,-1 0-1 0 0,0 0 1 0 0,1 0 0 0 0,-1 0 0 0 0,1 0-1 0 0,-1 0 1 0 0,0 0 0 0 0,1 0-1 0 0,0-1 1 0 0,8 1-72 0 0,0-2 0 0 0,-1 0 0 0 0,1 0-1 0 0,-1 0 1 0 0,1-1 0 0 0,-1 0 0 0 0,15-8 0 0 0,63-41-274 0 0,-84 51 346 0 0,115-76-188 0 0,-4-5 0 0 0,-3-4 0 0 0,156-162 0 0 0,-255 236 196 0 0,-5 7 11 0 0,-1 0 0 0 0,0 0 0 0 0,0-1 1 0 0,-1 0-1 0 0,0 0 0 0 0,0 0 0 0 0,5-11 446 0 0,-14 20 163 0 0,-23 16-456 0 0,0 1 0 0 0,1 2 0 0 0,1 0 0 0 0,-29 34 0 0 0,-86 113-285 0 0,98-113-116 0 0,3 0 0 0 0,-59 115 0 0 0,84-126-1469 0 0,14-44 1668 0 0,-1 1 0 0 0,1-1 0 0 0,-1 1 0 0 0,0-1 0 0 0,1 0 0 0 0,-1 0 0 0 0,0 0 0 0 0,0 0 0 0 0,0 0 0 0 0,1 0 0 0 0,-1-1 0 0 0,0 1 0 0 0,0 0 0 0 0,0-1 0 0 0,-3 1 0 0 0,-2 0 2 0 0,-90 27-50 0 0,-176 53-31 0 0,-133 63 118 0 0,-77 24 142 0 0,311-122 378 0 0,135-39-271 0 0,-1-1-1 0 0,-64 0 1 0 0,24-7-92 0 0,-56 1-176 0 0,104 2-12 0 0,0 1 1 0 0,-40 8 0 0 0,-228 77 56 0 0,180-50-17 0 0,102-33-11 0 0,1-1 0 0 0,-1-1-1 0 0,0 0 1 0 0,-29 1 0 0 0,44-4-59 0 0,6-1-302 0 0,414-81 243 0 0,-419 82 118 0 0,1 1-1 0 0,-1-1 0 0 0,0 0 0 0 0,0 0 1 0 0,0 0-1 0 0,1 0 0 0 0,-1 0 0 0 0,0 0 1 0 0,0 0-1 0 0,0 0 0 0 0,1 0 0 0 0,-1 0 1 0 0,0 0-1 0 0,0 0 0 0 0,1 0 0 0 0,-1 0 1 0 0,0 0-1 0 0,0 0 0 0 0,0 0 0 0 0,1 0 1 0 0,-1-1-1 0 0,0 1 0 0 0,0 0 0 0 0,0 0 1 0 0,1 0-1 0 0,-1 0 0 0 0,0 0 0 0 0,0 0 1 0 0,0-1-1 0 0,0 1 0 0 0,0 0 0 0 0,1 0 1 0 0,-1 0-1 0 0,0 0 0 0 0,0-1 0 0 0,0 1 0 0 0,0 0 1 0 0,0 0-1 0 0,0 0 0 0 0,0-1 0 0 0,0 1 1 0 0,-14-2 169 0 0,-639-7-169 0 0,567 13 59 0 0,-161 28 1 0 0,244-31-62 0 0,1-1-1 0 0,0 0 0 0 0,-1 1-1 0 0,1-1 1 0 0,0 0 0 0 0,-1 1-1 0 0,1 0 1 0 0,0 0 0 0 0,0 0 0 0 0,0 0-1 0 0,0 0 1 0 0,0 0 0 0 0,-2 2 0 0 0,10 0-73 0 0,36 0-12 0 0,72-3 0 0 0,-45-1 21 0 0,22 1 41 0 0,136-19 0 0 0,-199 15 14 0 0,13-2-75 0 0,53-14-1 0 0,-84 14-78 0 0,-10 0 113 0 0,-1 5 57 0 0,0 0 0 0 0,0 1 0 0 0,0-1 0 0 0,-1 0 1 0 0,1 0-1 0 0,0 0 0 0 0,-1 1 0 0 0,1-1 0 0 0,0 1 0 0 0,-1-1 0 0 0,1 1 0 0 0,-3-1 1 0 0,-37-7-66 0 0,-81-4 0 0 0,-46 10 120 0 0,111 2 194 0 0,56 0-245 0 0,7 0-102 0 0,20-1 17 0 0,0-1 0 0 0,-1-1-1 0 0,48-13 1 0 0,80-33-15 0 0,-121 38 86 0 0,584-243 102 0 0,-26-62-190 0 0,-326 150 53 0 0,-8-11-1 0 0,236-212 1 0 0,-396 306 1343 0 0,-111 94-33 0 0,-68 48-1254 0 0,3 3 0 0 0,-101 103 0 0 0,174-158-23 0 0,-7 7-5 0 0,-15 21 0 0 0,25-30 1 0 0,1 0-1 0 0,0 0 1 0 0,0 0 0 0 0,1 0 0 0 0,-1 0 0 0 0,1 0 0 0 0,0 1 0 0 0,-2 11 0 0 0,4-17 4 0 0,0 1-1 0 0,0 0 1 0 0,-1 0 0 0 0,1-1 0 0 0,0 1-1 0 0,0 0 1 0 0,0 0 0 0 0,0-1 0 0 0,0 1-1 0 0,0 0 1 0 0,0 0 0 0 0,0-1 0 0 0,1 1-1 0 0,-1 0 1 0 0,0 0 0 0 0,0-1 0 0 0,1 1-1 0 0,-1 0 1 0 0,1 1 0 0 0,0-2-12 0 0,1 1 0 0 0,-1 0 1 0 0,1-1-1 0 0,-1 0 0 0 0,1 1 0 0 0,-1-1 1 0 0,1 0-1 0 0,-1 1 0 0 0,1-1 0 0 0,-1 0 1 0 0,1 0-1 0 0,1 0 0 0 0,19-1-80 0 0,0-1-1 0 0,0 0 1 0 0,0-2-1 0 0,-1 0 1 0 0,35-13 0 0 0,111-50-461 0 0,-132 52 532 0 0,482-220 112 0 0,182-77 68 0 0,-638 291-141 0 0,-58 20-50 0 0,-9 7 136 0 0,0 0 0 0 0,-1-1 0 0 0,1 0 0 0 0,-1 0 0 0 0,-1-1 0 0 0,-9 6 0 0 0,-11 5 3 0 0,-683 407 983 0 0,679-404-1033 0 0,12-7-13 0 0,0 1 0 0 0,-33 26 0 0 0,44-28-34 0 0,8-5-56 0 0,9-4-176 0 0,40-11 226 0 0,0-2 0 0 0,-2-3 0 0 0,47-20 0 0 0,-50 19 27 0 0,289-112 140 0 0,451-160 169 0 0,-774 286-385 0 0,-16 6 46 0 0,-25 11 32 0 0,-958 478 1068 0 0,958-476-1043 0 0,16-10-37 0 0,0 2-1 0 0,0 0 1 0 0,1 1-1 0 0,-15 13 1 0 0,30-22-64 0 0,7-2-48 0 0,31-9-30 0 0,-1-1 1 0 0,71-31-1 0 0,-56 21 148 0 0,135-58 96 0 0,312-111-137 0 0,-478 184-29 0 0,-21 6 45 0 0,0 0 0 0 0,0 0 0 0 0,0 0 0 0 0,0 0 0 0 0,0 0 0 0 0,0 0 1 0 0,0 0-1 0 0,0 0 0 0 0,0 0 0 0 0,0 1 0 0 0,0-1 0 0 0,0 0 0 0 0,0 0 1 0 0,0 0-1 0 0,0 0 0 0 0,0 0 0 0 0,0 0 0 0 0,0 0 0 0 0,0 0 0 0 0,0 0 1 0 0,1 0-1 0 0,-1 0 0 0 0,0 0 0 0 0,0 0 0 0 0,0 0 0 0 0,0 0 0 0 0,0 0 1 0 0,0 0-1 0 0,0 0 0 0 0,0 1 0 0 0,0-1 0 0 0,0 0 0 0 0,0 0 0 0 0,0 0 0 0 0,0 0 1 0 0,0 0-1 0 0,0 0 0 0 0,1 0 0 0 0,-1 0 0 0 0,0 0 0 0 0,0 0 0 0 0,0 0 1 0 0,0 0-1 0 0,0 0 0 0 0,0 0 0 0 0,0 0 0 0 0,0 0 0 0 0,0-1 0 0 0,0 1 1 0 0,0 0-1 0 0,0 0 0 0 0,0 0 0 0 0,0 0 0 0 0,1 0 0 0 0,-1 0 0 0 0,0 0 0 0 0,0 0 1 0 0,-7 6-51 0 0,-29 20 41 0 0,-2-2 1 0 0,-41 20-1 0 0,12-8 2 0 0,-551 311 543 0 0,599-336-474 0 0,0 0 0 0 0,-31 25-1 0 0,48-33-62 0 0,8-4-45 0 0,17-6-33 0 0,0-1 1 0 0,40-20-1 0 0,-33 14 79 0 0,66-30 27 0 0,334-149-111 0 0,9 22-344 0 0,-404 158 90 0 0,-149 67 445 0 0,-763 415 1099 0 0,843-451-1116 0 0,3-1 8 0 0,0 2-1 0 0,-36 28 1 0 0,65-45-90 0 0,0-1 0 0 0,0 1 0 0 0,1-1 0 0 0,-1 1 0 0 0,1 0 1 0 0,0-1-1 0 0,-3 5 0 0 0,4-6-6 0 0,0 0 0 0 0,0 0 1 0 0,0 0-1 0 0,0 0 0 0 0,0 1 0 0 0,0-1 1 0 0,0 0-1 0 0,0 0 0 0 0,0 0 0 0 0,0 0 0 0 0,0 0 1 0 0,0 1-1 0 0,0-1 0 0 0,0 0 0 0 0,0 0 1 0 0,0 0-1 0 0,1 0 0 0 0,-1 0 0 0 0,0 0 1 0 0,0 1-1 0 0,0-1 0 0 0,0 0 0 0 0,0 0 0 0 0,0 0 1 0 0,0 0-1 0 0,0 0 0 0 0,1 0 0 0 0,-1 0 1 0 0,0 0-1 0 0,0 0 0 0 0,0 1 0 0 0,0-1 1 0 0,0 0-1 0 0,0 0 0 0 0,1 0 0 0 0,-1 0 0 0 0,0 0 1 0 0,0 0-1 0 0,0 0 0 0 0,0 0 0 0 0,1 0 1 0 0,-1 0-1 0 0,0 0 0 0 0,0 0 0 0 0,0 0 1 0 0,20-3-134 0 0,85-30 1 0 0,108-48 1 0 0,-130 47 127 0 0,202-82 53 0 0,164-65-145 0 0,5 25-1041 0 0,-448 154 965 0 0,-17 7 21 0 0,-185 87 444 0 0,-56 26-24 0 0,-520 297 916 0 0,712-374-1120 0 0,59-40-70 0 0,-14 13 53 0 0,14-9-85 0 0,12-4-157 0 0,38-12 62 0 0,1-2 0 0 0,-2-1 0 0 0,52-25 0 0 0,-42 17 126 0 0,585-238-796 0 0,-535 216 390 0 0,-90 32 544 0 0,-33 13-50 0 0,0 1 0 0 0,1 0 1 0 0,-1 1-1 0 0,1 0 1 0 0,0 1-1 0 0,0 1 1 0 0,0 0-1 0 0,-14 7 0 0 0,-13 10-26 0 0,-47 32 1 0 0,75-45-41 0 0,-28 19 44 0 0,39-26-50 0 0,-1 0-1 0 0,1 0 1 0 0,0 1-1 0 0,0-1 0 0 0,0 0 1 0 0,0 1-1 0 0,0-1 1 0 0,1 1-1 0 0,-1 0 0 0 0,1 0 1 0 0,0-1-1 0 0,-2 5 1 0 0,3-7-11 0 0,0 1 0 0 0,0-1 0 0 0,0 0 0 0 0,-1 1 0 0 0,1-1 1 0 0,0 0-1 0 0,0 1 0 0 0,0-1 0 0 0,0 0 0 0 0,0 1 0 0 0,0-1 0 0 0,0 1 1 0 0,0-1-1 0 0,0 0 0 0 0,0 1 0 0 0,0-1 0 0 0,0 0 0 0 0,1 1 0 0 0,-1-1 1 0 0,0 0-1 0 0,0 1 0 0 0,0-1 0 0 0,0 0 0 0 0,1 1 0 0 0,-1-1 0 0 0,0 0 1 0 0,0 0-1 0 0,0 1 0 0 0,1-1 0 0 0,-1 0 0 0 0,0 0 0 0 0,0 1 0 0 0,1-1 1 0 0,16 1-79 0 0,-10-1 68 0 0,29-1 19 0 0,0-3 0 0 0,0-1 0 0 0,0-1 0 0 0,51-16 0 0 0,142-60 60 0 0,-186 66-76 0 0,125-51-10 0 0,91-34 17 0 0,-179 74-19 0 0,104-21-1 0 0,-183 48 20 0 0,14-3-28 0 0,0 0-1 0 0,30-1 1 0 0,-44 26 38 0 0,-1-20-7 0 0,-1-1 0 0 0,1 1 1 0 0,-1 0-1 0 0,1 0 0 0 0,-1 0 1 0 0,0 0-1 0 0,0 0 0 0 0,0-1 0 0 0,0 1 1 0 0,0 0-1 0 0,0-1 0 0 0,0 1 0 0 0,0-1 1 0 0,-1 1-1 0 0,1-1 0 0 0,-1 0 0 0 0,1 1 1 0 0,-1-1-1 0 0,1 0 0 0 0,-4 2 1 0 0,-6 3 6 0 0,0-1 0 0 0,-14 6 1 0 0,15-7-8 0 0,-47 18-14 0 0,0-2 0 0 0,-1-3-1 0 0,-1-2 1 0 0,0-3 0 0 0,-1-3-1 0 0,0-2 1 0 0,-69-1 0 0 0,-25-6 277 0 0,158 4-336 0 0,6 0 81 0 0,0-2 0 0 0,1 1 0 0 0,-1-1 1 0 0,1-1-1 0 0,18 1 0 0 0,0 0 45 0 0,394 9 559 0 0,-283-12-580 0 0,650 1 343 0 0,-759 0-373 0 0,-1 2 1 0 0,1 1-1 0 0,-1 2 1 0 0,0 1-1 0 0,0 1 0 0 0,34 13 1 0 0,83 41 19 0 0,-125-50-18 0 0,0 2 0 0 0,-1 0 0 0 0,0 2 0 0 0,26 23 0 0 0,-25-17 15 0 0,-2-3-9 0 0,0 0 0 0 0,23 15 0 0 0,-27-22-17 0 0,5 4 17 0 0,1-2 0 0 0,26 13 0 0 0,-65-33-260 0 0,-131-54-847 0 0,51 31 715 0 0,-1 4-1 0 0,-176-23 0 0 0,-206 20 988 0 0,316 29-129 0 0,-140-5 770 0 0,276 1-1239 0 0,31 2-132 0 0,17 1 10 0 0,270 10 138 0 0,317 51 0 0 0,72 89 121 0 0,-792-191-614 0 0,63 21 241 0 0,-51-18-113 0 0,-185-82 7 0 0,279 118 364 0 0,6 2-15 0 0,-1 0-1 0 0,1 1 1 0 0,-1-1 0 0 0,1 0-1 0 0,-1 1 1 0 0,0-1-1 0 0,1 1 1 0 0,-1-1 0 0 0,-2 1-1 0 0,4 0-12 0 0,0 0 0 0 0,0 0 0 0 0,-1 0 0 0 0,1 0 0 0 0,0 0 0 0 0,0 0 0 0 0,0 0 0 0 0,0 0 0 0 0,0 0 0 0 0,0 0 0 0 0,0 0 0 0 0,0 0 0 0 0,-1 0 0 0 0,1 0 0 0 0,0 1 0 0 0,0-1 0 0 0,0 0 0 0 0,0 0 0 0 0,0 0 0 0 0,0 0 0 0 0,0 0-1 0 0,0 0 1 0 0,0 0 0 0 0,0 0 0 0 0,0 1 0 0 0,0-1 0 0 0,0 0 0 0 0,0 0 0 0 0,0 0 0 0 0,0 0 0 0 0,0 0 0 0 0,0 0 0 0 0,0 0 0 0 0,0 1 0 0 0,0-1 0 0 0,0 0 0 0 0,0 0 0 0 0,0 0 0 0 0,0 0 0 0 0,0 0 0 0 0,0 0 0 0 0,0 0 0 0 0,0 0 0 0 0,0 1 0 0 0,0-1 0 0 0,0 0 0 0 0,0 0 0 0 0,0 0-1 0 0,1 0 1 0 0,-1 0 0 0 0,0 0 0 0 0,0 0 0 0 0,5 8-18 0 0,17 9-17 0 0,0 0 0 0 0,41 22-1 0 0,-11-7 49 0 0,83 55 84 0 0,422 296 349 0 0,-546-374-452 0 0,-6-6 7 0 0,0 0 0 0 0,-1 1 1 0 0,0-1-1 0 0,0 1 0 0 0,0 0 0 0 0,5 7 1 0 0,-9-10-10 0 0,-6-2-42 0 0,-46-11-239 0 0,0-2-1 0 0,-73-30 0 0 0,82 28 132 0 0,-288-120-786 0 0,322 132 951 0 0,3 1 33 0 0,-1 0 0 0 0,1-1 0 0 0,0 0-1 0 0,0 0 1 0 0,0 0 0 0 0,-6-6 0 0 0,12 10-6 0 0,0 0-31 0 0,0 0 1 0 0,0 0-1 0 0,0 0 0 0 0,0 0 1 0 0,0-1-1 0 0,1 1 0 0 0,-1 0 1 0 0,0 0-1 0 0,0 0 0 0 0,0 0 1 0 0,0 0-1 0 0,0 0 1 0 0,0 0-1 0 0,0 0 0 0 0,0 0 1 0 0,1 0-1 0 0,-1 0 0 0 0,0 0 1 0 0,0 0-1 0 0,0 0 0 0 0,0 0 1 0 0,0-1-1 0 0,0 1 0 0 0,0 0 1 0 0,0 0-1 0 0,0 0 0 0 0,0 0 1 0 0,0 0-1 0 0,0 0 1 0 0,0 0-1 0 0,0 0 0 0 0,0-1 1 0 0,0 1-1 0 0,0 0 0 0 0,0 0 1 0 0,0 0-1 0 0,0 0 0 0 0,0 0 1 0 0,0 0-1 0 0,0 0 0 0 0,0-1 1 0 0,0 1-1 0 0,0 0 1 0 0,0 0-1 0 0,0 0 0 0 0,0 0 1 0 0,0 0-1 0 0,0 0 0 0 0,0 0 1 0 0,0 0-1 0 0,0-1 0 0 0,0 1 1 0 0,0 0-1 0 0,0 0 0 0 0,0 0 1 0 0,0 0-1 0 0,0 0 0 0 0,-1 0 1 0 0,1 0-1 0 0,0 0 1 0 0,0 0-1 0 0,0 0 0 0 0,5 0-2 0 0,1 0 0 0 0,-1 1 0 0 0,0 0 0 0 0,0 0-1 0 0,0 0 1 0 0,1 1 0 0 0,-1-1 0 0 0,7 5 0 0 0,8 2 6 0 0,85 32 258 0 0,262 104 519 0 0,-11 26-446 0 0,-160-55-215 0 0,-191-111-112 0 0,-7-3 0 0 0,-14-5-26 0 0,-145-62-539 0 0,94 37 315 0 0,19 9 0 0 0,-64-30 55 0 0,112 50 232 0 0,4 3-28 0 0,27 21 103 0 0,2-3 1 0 0,69 35-1 0 0,-47-27 64 0 0,7 5-10 0 0,231 130 663 0 0,-203-109-677 0 0,96 79-1 0 0,-158-111-176 0 0,-2 1-1 0 0,37 42 1 0 0,-59-60 10 0 0,-3-5-4 0 0,1 0 1 0 0,-1 0 0 0 0,0 0-1 0 0,0 1 1 0 0,0-1 0 0 0,0 0-1 0 0,0 1 1 0 0,0-1-1 0 0,-1 1 1 0 0,1-1 0 0 0,0 1-1 0 0,-1 0 1 0 0,1-1 0 0 0,-1 1-1 0 0,1 3 1 0 0,-2-1-215 0 0,-7-3 12 0 0,2-1 118 0 0,-24-3-226 0 0,-1-1-1 0 0,1-1 0 0 0,0-1 1 0 0,-41-16-1 0 0,46 15 118 0 0,-261-93-1977 0 0,220 71 2698 0 0,2-3 1 0 0,-75-49 0 0 0,131 73 121 0 0,23 9-536 0 0,21 8-104 0 0,-1 1 0 0 0,56 23-1 0 0,67 42 312 0 0,118 88 796 0 0,-16 23-747 0 0,-242-172-369 0 0,-5-4 1 0 0,24 14 0 0 0,-47-25-719 0 0,-31-13-422 0 0,-68-34 0 0 0,79 33 1210 0 0,-2 0 901 0 0,33 27-676 0 0,0-8-286 0 0,0 0-1 0 0,1 0 0 0 0,-1-1 1 0 0,1 1-1 0 0,0-1 1 0 0,0 1-1 0 0,0-1 0 0 0,0 0 1 0 0,5 6-1 0 0,31 27 72 0 0,-16-16-29 0 0,52 52 89 0 0,87 89 373 0 0,165 184 535 0 0,-275-290-1043 0 0,-60-54-936 0 0,-19-10 132 0 0,0-2 0 0 0,0-2 0 0 0,-38-22-1 0 0,39 20 804 0 0,13 8 106 0 0,9 4 52 0 0,0 1 0 0 0,0-1 0 0 0,0 0-1 0 0,0 0 1 0 0,-8-8 400 0 0,14 15-613 0 0,2 2 70 0 0,0 1-1 0 0,1-2 0 0 0,0 1 1 0 0,0 0-1 0 0,0-1 0 0 0,1 1 1 0 0,0-1-1 0 0,5 4 0 0 0,8 9 110 0 0,39 44 553 0 0,3-2 0 0 0,127 98 0 0 0,-83-78-426 0 0,-76-37-1575 0 0,-21-28 1419 0 0,2-1 0 0 0,15 22 0 0 0,-22-32-89 0 0,-2-3-4 0 0,0 0 0 0 0,1-1 0 0 0,-1 1 1 0 0,0 0-1 0 0,1 0 0 0 0,-1 0 0 0 0,1-1 1 0 0,-1 1-1 0 0,1 0 0 0 0,-1 0 1 0 0,1-1-1 0 0,-1 1 0 0 0,1 0 0 0 0,0-1 1 0 0,-1 1-1 0 0,1-1 0 0 0,0 1 0 0 0,-1-1 1 0 0,1 1-1 0 0,0-1 0 0 0,0 0 0 0 0,0 1 1 0 0,1-1-1 0 0,1 0-401 0 0,-2 0 360 0 0,6 23 56 0 0,6 8 120 0 0,1-2 0 0 0,1 1-1 0 0,37 50 1 0 0,-48-75-122 0 0,0 1-19 0 0,1 0-1 0 0,1 0 0 0 0,-1-1 0 0 0,1 0 0 0 0,0 0 1 0 0,6 4-1 0 0,-6-5-3 0 0,0 0 0 0 0,-1 0 0 0 0,0 0 0 0 0,0 1 1 0 0,0 0-1 0 0,0 0 0 0 0,-1 0 0 0 0,5 7 0 0 0,24 36-12 0 0,-30-44 70 0 0,-3-4-80 0 0,0 0-1 0 0,0 1 1 0 0,0-1 0 0 0,1 0 0 0 0,-1 1-1 0 0,0-1 1 0 0,0 0 0 0 0,1 0 0 0 0,-1 0-1 0 0,0 1 1 0 0,1-1 0 0 0,-1 0 0 0 0,0 0-1 0 0,0 0 1 0 0,1 1 0 0 0,-1-1 0 0 0,0 0-1 0 0,1 0 1 0 0,-1 0 0 0 0,10 2 1231 0 0,-10 0-1181 0 0,0 0-1 0 0,-1 0 1 0 0,1 0 0 0 0,-1 0-1 0 0,1 0 1 0 0,-1-1-1 0 0,0 1 1 0 0,0 0 0 0 0,0-1-1 0 0,0 1 1 0 0,0 0-1 0 0,-2 1 1 0 0,-20 22-4 0 0,3-4 24 0 0,0 7 33 0 0,-2 1-41 0 0,-28 51 0 0 0,-10 21 3 0 0,56-92-631 0 0,7 3-870 0 0,-5-6 1528 0 0,-1-1 1 0 0,1 0 0 0 0,-1 0 0 0 0,1 0 0 0 0,-1 0 0 0 0,-1 0 0 0 0,1 0 0 0 0,-1-1 0 0 0,0 0 0 0 0,0 0 0 0 0,0 0 0 0 0,-5 4 0 0 0,-6 6 144 0 0,-2 3-1 0 0,-163 172 1537 0 0,175-184-1668 0 0,3-2-336 0 0,9-10-206 0 0,99-78-113 0 0,-44 37 546 0 0,136-104 0 0 0,-176 139-197 0 0,-22 14 243 0 0,0 0 0 0 0,1 0 1 0 0,-1 0-1 0 0,-1-1 1 0 0,1 1-1 0 0,0 0 0 0 0,0 0 1 0 0,0-1-1 0 0,0 1 0 0 0,0 0 1 0 0,-1 0-1 0 0,1-1 0 0 0,0 1 1 0 0,-1 0-1 0 0,0 1 0 0 0,-8 13 42 0 0,-1 0 1 0 0,0-1-1 0 0,-2 0 0 0 0,-17 17 0 0 0,-6 8-25 0 0,6-4 145 0 0,-42 64 1 0 0,70-97-172 0 0,0 0 1 0 0,0-1 0 0 0,0 1 0 0 0,0 0 0 0 0,1 0 0 0 0,-1 0 0 0 0,0 0 0 0 0,1 0-1 0 0,-1 0 1 0 0,1 0 0 0 0,0 0 0 0 0,0 2 0 0 0,5-5-249 0 0,5-2 95 0 0,0 0 0 0 0,0 0-1 0 0,-1-1 1 0 0,1-1 0 0 0,16-10-1 0 0,47-35-218 0 0,-72 49 357 0 0,25-18-394 0 0,-2-2 0 0 0,44-47-1 0 0,-53 39 374 0 0,-34 32 1130 0 0,1 6-893 0 0,0 0 0 0 0,2 0-1 0 0,-21 16 1 0 0,-48 41 396 0 0,76-59-496 0 0,-35 29 443 0 0,1 3 0 0 0,-41 48 0 0 0,79-82-517 0 0,4-4-24 0 0,-1 1 1 0 0,1-1-1 0 0,-1 1 1 0 0,1 0-1 0 0,-1 0 1 0 0,1 0 0 0 0,0 0-1 0 0,0 0 1 0 0,0 0-1 0 0,0 0 1 0 0,0 0-1 0 0,0 1 1 0 0,1-1-1 0 0,-1 4 1 0 0,6-6-284 0 0,3-1 134 0 0,-1-1-1 0 0,1 0 1 0 0,0 0-1 0 0,-1 0 0 0 0,1-1 1 0 0,-1 0-1 0 0,11-7 0 0 0,53-36-172 0 0,-63 42 295 0 0,18-15-233 0 0,44-40 1 0 0,-60 51 192 0 0,-2-1-1 0 0,1-1 1 0 0,-1 0-1 0 0,-1 0 1 0 0,0 0-1 0 0,0-1 1 0 0,9-20-1 0 0,-15 27 43 0 0,0 0 1 0 0,0 0-1 0 0,0 0 0 0 0,0 0 0 0 0,0-8 0 0 0,-1 11 24 0 0,0 0-1 0 0,0 0 0 0 0,0 0 1 0 0,0 0-1 0 0,0 0 0 0 0,0 0 1 0 0,0 0-1 0 0,0 0 1 0 0,-1 0-1 0 0,1 0 0 0 0,0 0 1 0 0,-1 0-1 0 0,1 0 0 0 0,-1 0 1 0 0,1 0-1 0 0,-1 0 1 0 0,0 1-1 0 0,1-1 0 0 0,-1 0 1 0 0,0 0-1 0 0,1 1 0 0 0,-1-1 1 0 0,0 0-1 0 0,0 1 1 0 0,0-1-1 0 0,1 0 0 0 0,-1 1 1 0 0,-2-1-1 0 0,-10-2 98 0 0,-1 0 0 0 0,0 1 0 0 0,1 1 0 0 0,-1 0 0 0 0,-22 2 0 0 0,1 0 104 0 0,-37 2 154 0 0,-137 22 0 0 0,-70 34-144 0 0,271-57-204 0 0,-708 190 209 0 0,530-139-648 0 0,165-46 572 0 0,18-6-102 0 0,17-6-153 0 0,282-122-264 0 0,-223 94 385 0 0,244-118 59 0 0,-87 40-715 0 0,-216 104 650 0 0,-14 6 2 0 0,0 1-1 0 0,0 0 1 0 0,0 0 0 0 0,0 0-1 0 0,-1 0 1 0 0,1 0-1 0 0,0 0 1 0 0,0 0 0 0 0,0-1-1 0 0,0 1 1 0 0,0 0-1 0 0,0 0 1 0 0,0 0 0 0 0,0 0-1 0 0,0 0 1 0 0,0 0 0 0 0,0 0-1 0 0,0 0 1 0 0,0 0-1 0 0,0 0 1 0 0,0-1 0 0 0,0 1-1 0 0,0 0 1 0 0,-1 0-1 0 0,1 0 1 0 0,0 0 0 0 0,0 0-1 0 0,0 0 1 0 0,0 0-1 0 0,0 0 1 0 0,0 0 0 0 0,0 0-1 0 0,0 0 1 0 0,-1 0-1 0 0,1 0 1 0 0,0 0 0 0 0,0 0-1 0 0,0 0 1 0 0,0 0-1 0 0,0 0 1 0 0,0 0 0 0 0,0 0-1 0 0,-1 0 1 0 0,1 0-1 0 0,0 0 1 0 0,0 0 0 0 0,0 0-1 0 0,0 0 1 0 0,0 0-1 0 0,0 0 1 0 0,0 0 0 0 0,0 0-1 0 0,0 0 1 0 0,-1 0-1 0 0,1 1 1 0 0,-30 4 503 0 0,-26 11-331 0 0,-68 30-1 0 0,60-21-171 0 0,-925 386 225 0 0,932-386-257 0 0,14-7 5 0 0,85-45-734 0 0,194-92 593 0 0,50-26 107 0 0,-261 131 16 0 0,185-111-695 0 0,-200 118 671 0 0,-7 6 50 0 0,0-1 0 0 0,-1 1-1 0 0,1-1 1 0 0,-1 0 0 0 0,1 0 0 0 0,-1 0 0 0 0,0 0 0 0 0,0 0 0 0 0,0 0 0 0 0,0-1 0 0 0,0 1 0 0 0,-1-1 0 0 0,1 1 0 0 0,-1-1-1 0 0,1 1 1 0 0,0-4 0 0 0,-2 5 14 0 0,0 1-1 0 0,1 0 1 0 0,-1-1-1 0 0,0 1 0 0 0,0-1 1 0 0,0 1-1 0 0,0-1 1 0 0,0 1-1 0 0,0 0 1 0 0,0-1-1 0 0,0 1 1 0 0,0-1-1 0 0,0 1 0 0 0,0 0 1 0 0,0-1-1 0 0,0 1 1 0 0,0-1-1 0 0,-1 1 1 0 0,1 0-1 0 0,0-1 0 0 0,0 1 1 0 0,0-1-1 0 0,-1 1 1 0 0,1 0-1 0 0,0-1 1 0 0,0 1-1 0 0,-1 0 0 0 0,1-1 1 0 0,0 1-1 0 0,-1-1 1 0 0,-18-2 148 0 0,-22 3 109 0 0,0 1-1 0 0,0 3 0 0 0,0 1 1 0 0,-58 15-1 0 0,-161 57 200 0 0,222-64-381 0 0,-178 62-7 0 0,-79 25-34 0 0,490-178-894 0 0,-153 60 787 0 0,151-66 143 0 0,94-48-404 0 0,-280 129 256 0 0,-6 3 73 0 0,1-1-1 0 0,-1 1 1 0 0,0 0 0 0 0,0-1 0 0 0,0 1-1 0 0,0-1 1 0 0,0 1 0 0 0,0-1-1 0 0,0 1 1 0 0,0-1 0 0 0,0 0 0 0 0,-1 1-1 0 0,1-1 1 0 0,0 0 0 0 0,0 0-1 0 0,0 0 1 0 0,-1 0 0 0 0,1 0 0 0 0,0-1-1 0 0,-6 1 72 0 0,-23 2 105 0 0,1 1 0 0 0,-1 2 1 0 0,-51 13-1 0 0,-81 35-215 0 0,106-34 85 0 0,-224 83 220 0 0,-280 86-334 0 0,532-181 5 0 0,21-7-257 0 0,9-4 172 0 0,-3 4 89 0 0,12-11-72 0 0,0 2-1 0 0,1-1 1 0 0,0 2-1 0 0,20-11 1 0 0,-25 15 113 0 0,637-371-578 0 0,-627 366 473 0 0,-16 9 109 0 0,0-1-1 0 0,0 1 0 0 0,1-1 0 0 0,-1 0 0 0 0,-1 0 0 0 0,1 0 0 0 0,0-1 1 0 0,3-2-1 0 0,-7 4 32 0 0,-1 1 0 0 0,1-1 1 0 0,0 1-1 0 0,0-1 0 0 0,0 1 1 0 0,-1 0-1 0 0,1 0 0 0 0,0-1 1 0 0,0 1-1 0 0,-1 0 0 0 0,1 0 1 0 0,0 0-1 0 0,-1 1 1 0 0,1-1-1 0 0,-2 0 0 0 0,-28 5 242 0 0,0 1-1 0 0,0 2 1 0 0,-60 22 0 0 0,56-17-177 0 0,-369 150 817 0 0,12 23-656 0 0,27 0-333 0 0,361-184-274 0 0,12-4-219 0 0,28-12 376 0 0,-1-1 1 0 0,48-28-1 0 0,-42 20 203 0 0,506-294-507 0 0,-538 311 484 0 0,21-15-55 0 0,-28 20 85 0 0,-1 0 0 0 0,0 0 0 0 0,0 0 0 0 0,1 0 0 0 0,-1 0 0 0 0,0 0 0 0 0,0-1 0 0 0,0 1 0 0 0,0 0 0 0 0,-1-1 0 0 0,1 1 0 0 0,0-1 0 0 0,-1 1 0 0 0,1-1 0 0 0,-1 1 0 0 0,1-3 0 0 0,-1 4 4 0 0,0 0-1 0 0,0-1 1 0 0,0 1-1 0 0,0 0 1 0 0,0 0-1 0 0,0 0 0 0 0,0-1 1 0 0,0 1-1 0 0,0 0 1 0 0,0 0-1 0 0,0 0 1 0 0,-1 0-1 0 0,1-1 0 0 0,0 1 1 0 0,0 0-1 0 0,0 0 1 0 0,0 0-1 0 0,0 0 1 0 0,-1 0-1 0 0,1 0 0 0 0,0-1 1 0 0,0 1-1 0 0,0 0 1 0 0,0 0-1 0 0,-1 0 1 0 0,1 0-1 0 0,0 0 0 0 0,0 0 1 0 0,0 0-1 0 0,-1 0 1 0 0,1 0-1 0 0,0 0 1 0 0,0 0-1 0 0,0 0 0 0 0,-1 0 1 0 0,1 0-1 0 0,0 0 1 0 0,0 0-1 0 0,0 0 0 0 0,-1 0 1 0 0,1 0-1 0 0,0 0 1 0 0,0 0-1 0 0,-24-1 185 0 0,1 1-1 0 0,-1 1 1 0 0,1 2 0 0 0,0 0-1 0 0,-40 10 1 0 0,-114 45 91 0 0,171-55-264 0 0,-490 208 150 0 0,300-123-120 0 0,180-80-45 0 0,13-6-16 0 0,-1 0-1 0 0,0-1 1 0 0,0 1 0 0 0,0-1 0 0 0,-7 1 0 0 0,39-19-672 0 0,886-444 358 0 0,-901 453 341 0 0,-12 7-6 0 0,-1 1 0 0 0,0 0 1 0 0,0 0-1 0 0,0 0 0 0 0,0 0 0 0 0,0 0 1 0 0,0 0-1 0 0,-1 0 0 0 0,1-1 0 0 0,0 1 1 0 0,0 0-1 0 0,0 0 0 0 0,0 0 0 0 0,0 0 1 0 0,0 0-1 0 0,0 0 0 0 0,0 0 0 0 0,0-1 1 0 0,0 1-1 0 0,0 0 0 0 0,0 0 0 0 0,0 0 1 0 0,0 0-1 0 0,0 0 0 0 0,-1 0 0 0 0,1 0 0 0 0,0 0 1 0 0,0 0-1 0 0,0 0 0 0 0,0 0 0 0 0,0 0 1 0 0,0-1-1 0 0,0 1 0 0 0,0 0 0 0 0,-1 0 1 0 0,1 0-1 0 0,0 0 0 0 0,0 0 0 0 0,0 0 1 0 0,0 0-1 0 0,0 0 0 0 0,0 0 0 0 0,-1 0 1 0 0,1 0-1 0 0,0 0 0 0 0,0 0 0 0 0,0 0 1 0 0,0 1-1 0 0,0-1 0 0 0,0 0 0 0 0,0 0 1 0 0,-1 0-1 0 0,-29 4 431 0 0,4 4-306 0 0,0 1 1 0 0,-29 15-1 0 0,28-12-117 0 0,-111 52 68 0 0,-153 98-1 0 0,-109 112 136 0 0,388-264-210 0 0,5-6-4 0 0,1 0 0 0 0,0 1 0 0 0,0 0 0 0 0,0 0 0 0 0,1 1 0 0 0,0 0 0 0 0,-7 10 0 0 0,11-16-6 0 0,1 0-1 0 0,0 0 1 0 0,0 0-1 0 0,0 0 1 0 0,0 0-1 0 0,-1 1 1 0 0,1-1-1 0 0,0 0 1 0 0,0 0-1 0 0,0 0 1 0 0,0 1-1 0 0,0-1 1 0 0,0 0 0 0 0,0 0-1 0 0,0 1 1 0 0,0-1-1 0 0,-1 0 1 0 0,1 0-1 0 0,0 0 1 0 0,0 1-1 0 0,0-1 1 0 0,0 0-1 0 0,0 0 1 0 0,0 1-1 0 0,1-1 1 0 0,-1 0-1 0 0,0 0 1 0 0,0 0-1 0 0,0 1 1 0 0,0-1 0 0 0,0 0-1 0 0,0 0 1 0 0,0 0-1 0 0,0 1 1 0 0,0-1-1 0 0,1 0 1 0 0,-1 0-1 0 0,0 0 1 0 0,0 1-1 0 0,0-1 1 0 0,0 0-1 0 0,1 0 1 0 0,-1 0-1 0 0,0 0 1 0 0,0 0 0 0 0,0 0-1 0 0,1 1 1 0 0,-1-1-1 0 0,0 0 1 0 0,0 0-1 0 0,0 0 1 0 0,1 0-1 0 0,-1 0 1 0 0,0 0-1 0 0,18-1-258 0 0,-14 1 205 0 0,26-6-38 0 0,0-1 1 0 0,0-1-1 0 0,-1-2 1 0 0,36-17-1 0 0,-14 7 65 0 0,374-169-476 0 0,-351 154 111 0 0,-62 30 344 0 0,-9 4 49 0 0,0 0 0 0 0,0 0 0 0 0,-1-1 1 0 0,1 1-1 0 0,0-1 0 0 0,-1 1 0 0 0,1-1 0 0 0,2-3 0 0 0,-5 5 5 0 0,0 0 0 0 0,0 0 0 0 0,0 0 0 0 0,0 0 0 0 0,0 0 0 0 0,0 0 0 0 0,0 0 0 0 0,0 0 0 0 0,0-1 0 0 0,0 1 0 0 0,0 0 0 0 0,0 0-1 0 0,0 0 1 0 0,0 0 0 0 0,0 0 0 0 0,0 0 0 0 0,0 0 0 0 0,0-1 0 0 0,0 1 0 0 0,0 0 0 0 0,0 0 0 0 0,0 0 0 0 0,0 0 0 0 0,0 0 0 0 0,0 0 0 0 0,0 0-1 0 0,0 0 1 0 0,0-1 0 0 0,0 1 0 0 0,0 0 0 0 0,0 0 0 0 0,0 0 0 0 0,0 0 0 0 0,0 0 0 0 0,0 0 0 0 0,0 0 0 0 0,-1 0 0 0 0,1 0 0 0 0,0 0-1 0 0,0 0 1 0 0,0 0 0 0 0,0-1 0 0 0,0 1 0 0 0,0 0 0 0 0,0 0 0 0 0,0 0 0 0 0,0 0 0 0 0,-1 0 0 0 0,1 0 0 0 0,0 0 0 0 0,0 0 0 0 0,0 0-1 0 0,0 0 1 0 0,0 0 0 0 0,0 0 0 0 0,0 0 0 0 0,0 0 0 0 0,-1 0 0 0 0,1 0 0 0 0,0 0 0 0 0,0 0 0 0 0,0 0 0 0 0,0 1 0 0 0,-13-2 74 0 0,11 1-57 0 0,-30 1 108 0 0,1 2 1 0 0,0 2 0 0 0,1 0 0 0 0,-40 13-1 0 0,-122 48 143 0 0,175-59-224 0 0,-123 47 196 0 0,-222 74-146 0 0,336-122-223 0 0,26-6 115 0 0,-1 0-1 0 0,1 0 1 0 0,0 0 0 0 0,-1 0 0 0 0,1 0 0 0 0,0 0 0 0 0,0 0-1 0 0,-1 0 1 0 0,1 0 0 0 0,0 0 0 0 0,-1 0 0 0 0,1 0 0 0 0,0 0-1 0 0,0 0 1 0 0,-1 0 0 0 0,1 0 0 0 0,0 0 0 0 0,0-1 0 0 0,-1 1 0 0 0,1 0-1 0 0,0 0 1 0 0,0 0 0 0 0,-1 0 0 0 0,1 0 0 0 0,0-1 0 0 0,0 1-1 0 0,-1 0 1 0 0,1 0 0 0 0,0-1 0 0 0,0 1 0 0 0,0 0 0 0 0,0 0-1 0 0,-1-1 1 0 0,2-10-249 0 0,13-14-42 0 0,5 2 224 0 0,1 1 1 0 0,1 0-1 0 0,1 2 0 0 0,26-19 1 0 0,-4 3 50 0 0,303-234-561 0 0,-341 265 555 0 0,18-14-128 0 0,-23 18 159 0 0,0 0 1 0 0,0 0-1 0 0,0 0 1 0 0,0 0 0 0 0,-1 0-1 0 0,1 0 1 0 0,0 0-1 0 0,0-1 1 0 0,-1 1-1 0 0,1 0 1 0 0,-1-1 0 0 0,1 1-1 0 0,-1 0 1 0 0,1-1-1 0 0,-1-2 1 0 0,0 4 7 0 0,0 0-1 0 0,0 0 1 0 0,0 0 0 0 0,0 0-1 0 0,0-1 1 0 0,0 1 0 0 0,0 0 0 0 0,0 0-1 0 0,-1 0 1 0 0,1 0 0 0 0,0 0-1 0 0,0-1 1 0 0,0 1 0 0 0,0 0-1 0 0,0 0 1 0 0,0 0 0 0 0,-1 0 0 0 0,1 0-1 0 0,0 0 1 0 0,0 0 0 0 0,0-1-1 0 0,0 1 1 0 0,0 0 0 0 0,-1 0-1 0 0,1 0 1 0 0,0 0 0 0 0,0 0 0 0 0,0 0-1 0 0,0 0 1 0 0,-1 0 0 0 0,1 0-1 0 0,0 0 1 0 0,0 0 0 0 0,0 0-1 0 0,-1 0 1 0 0,1 0 0 0 0,0 0 0 0 0,0 0-1 0 0,0 0 1 0 0,0 0 0 0 0,0 1-1 0 0,-1-1 1 0 0,1 0 0 0 0,-32 0 156 0 0,0 1 0 0 0,0 2 0 0 0,0 2 0 0 0,1 0 1 0 0,-1 2-1 0 0,1 2 0 0 0,-42 17 0 0 0,-208 107 220 0 0,238-110-312 0 0,-97 53 6 0 0,-40 21-130 0 0,164-89-152 0 0,27-19-1007 0 0,-8 9 1148 0 0,0 0 0 0 0,-1 0 0 0 0,6-1 1 0 0,8-5-18 0 0,254-140-383 0 0,-244 132 400 0 0,-32 17 484 0 0,-8 2-242 0 0,-1 1 1 0 0,1 1 0 0 0,-24 10-1 0 0,-47 27-91 0 0,55-26-27 0 0,-106 56 238 0 0,-203 95-89 0 0,330-163-219 0 0,7-3-4 0 0,1 0-1 0 0,-1-1 0 0 0,0 1 1 0 0,1 0-1 0 0,-1-1 0 0 0,0 0 1 0 0,0 1-1 0 0,0-1 1 0 0,-2 0-1 0 0,5-4-244 0 0,3-3 170 0 0,1 1 0 0 0,0 0 0 0 0,0 0 1 0 0,0 0-1 0 0,1 0 0 0 0,0 1 0 0 0,0 0 0 0 0,7-4 0 0 0,-4 2 36 0 0,281-204-222 0 0,-30 23-55 0 0,-253 183 328 0 0,-6 5 4 0 0,0-1 0 0 0,0 1 1 0 0,0-1-1 0 0,0 0 0 0 0,0 1 0 0 0,0-1 0 0 0,0 0 0 0 0,0 0 0 0 0,0 1 0 0 0,-1-1 0 0 0,1 0 0 0 0,0 0 1 0 0,-1 0-1 0 0,1 0 0 0 0,0 0 0 0 0,-1 0 0 0 0,1 0 0 0 0,-1-1 0 0 0,0 1 0 0 0,1-1 0 0 0,-2 1 21 0 0,1 1-1 0 0,-1-1 0 0 0,0 1 1 0 0,1-1-1 0 0,-1 1 0 0 0,0 0 1 0 0,0 0-1 0 0,1-1 0 0 0,-1 1 1 0 0,0 0-1 0 0,0 0 0 0 0,0 0 1 0 0,1 0-1 0 0,-1 0 0 0 0,0 0 1 0 0,0 0-1 0 0,0 0 0 0 0,1 0 1 0 0,-2 1-1 0 0,-3-1 80 0 0,-25 1 15 0 0,-1 2-1 0 0,2 1 1 0 0,-1 1 0 0 0,0 2-1 0 0,-48 17 1 0 0,-143 71 128 0 0,150-62-83 0 0,-5 3-92 0 0,-153 63-49 0 0,230-99-23 0 0,-1 0-1 0 0,0 0 0 0 0,0 0 0 0 0,0 0 0 0 0,0-1 0 0 0,0 1 0 0 0,0 0 0 0 0,0 0 0 0 0,0 0 1 0 0,0 0-1 0 0,0 0 0 0 0,0 0 0 0 0,0 0 0 0 0,0 0 0 0 0,0 0 0 0 0,0 0 0 0 0,0 0 0 0 0,0 0 0 0 0,0 0 1 0 0,0 0-1 0 0,1 0 0 0 0,-1-1 0 0 0,0 1 0 0 0,0 0 0 0 0,0 0 0 0 0,0 0 0 0 0,0 0 0 0 0,0 0 0 0 0,0 0 1 0 0,0 0-1 0 0,0 0 0 0 0,0 0 0 0 0,-1 0 0 0 0,1 0 0 0 0,0 0 0 0 0,0-1 0 0 0,0 1 0 0 0,0 0 1 0 0,0 0-1 0 0,0 0 0 0 0,0 0 0 0 0,0 0 0 0 0,0 0 0 0 0,0 0 0 0 0,0 0 0 0 0,0 0 0 0 0,0 0 0 0 0,0 0 1 0 0,0 0-1 0 0,0 0 0 0 0,0 0 0 0 0,0 0 0 0 0,0 0 0 0 0,0 0 0 0 0,-1 0 0 0 0,1 0 0 0 0,0 0 0 0 0,0 0 1 0 0,0 0-1 0 0,0-1 0 0 0,8-7-245 0 0,192-119-557 0 0,-145 95 746 0 0,-14 7 33 0 0,209-120-428 0 0,-249 144 521 0 0,-12 3 827 0 0,-18 7-634 0 0,1 1 0 0 0,-40 20 0 0 0,-54 38-67 0 0,81-45-1 0 0,-43 25 14 0 0,-152 82 85 0 0,219-123-269 0 0,14-6-105 0 0,9-5-188 0 0,145-106-361 0 0,242-189 339 0 0,-382 290 200 0 0,-6 6 73 0 0,-1-1 0 0 0,1 0 1 0 0,-1 0-1 0 0,0 0 1 0 0,0 0-1 0 0,0-1 1 0 0,-1 1-1 0 0,4-7 1 0 0,-7 11 25 0 0,0 0 1 0 0,0-1 0 0 0,0 1-1 0 0,0 0 1 0 0,0 0-1 0 0,0 0 1 0 0,0-1 0 0 0,0 1-1 0 0,0 0 1 0 0,0 0 0 0 0,0 0-1 0 0,0-1 1 0 0,0 1-1 0 0,0 0 1 0 0,0 0 0 0 0,0 0-1 0 0,0-1 1 0 0,0 1 0 0 0,0 0-1 0 0,0 0 1 0 0,0 0-1 0 0,0-1 1 0 0,-1 1 0 0 0,1 0-1 0 0,0 0 1 0 0,0 0 0 0 0,0 0-1 0 0,0-1 1 0 0,0 1-1 0 0,-1 0 1 0 0,1 0 0 0 0,0 0-1 0 0,0 0 1 0 0,0 0 0 0 0,0 0-1 0 0,-1 0 1 0 0,1-1-1 0 0,0 1 1 0 0,0 0 0 0 0,0 0-1 0 0,-1 0 1 0 0,1 0 0 0 0,0 0-1 0 0,0 0 1 0 0,-1 0-1 0 0,1 0 1 0 0,0 0 0 0 0,0 0-1 0 0,0 0 1 0 0,-1 0 0 0 0,1 0-1 0 0,0 0 1 0 0,0 1-1 0 0,0-1 1 0 0,-1 0 0 0 0,-15 2 375 0 0,16-2-374 0 0,-24 7 73 0 0,0 0 1 0 0,1 2 0 0 0,-44 23 0 0 0,35-16-64 0 0,-214 111 107 0 0,-99 45-118 0 0,335-168-15 0 0,1 1-20 0 0,-1-1 0 0 0,0 0 1 0 0,0 0-1 0 0,0-1 1 0 0,0-1-1 0 0,0 0 0 0 0,-13 1 1 0 0,23-3 26 0 0,0 0 0 0 0,0 0 1 0 0,0 0-1 0 0,0 0 0 0 0,-1 0 0 0 0,1 0 1 0 0,0 0-1 0 0,0 0 0 0 0,0 0 1 0 0,0 0-1 0 0,0 0 0 0 0,0 0 0 0 0,-1 0 1 0 0,1 0-1 0 0,0 0 0 0 0,0 0 1 0 0,0 0-1 0 0,0 0 0 0 0,0 0 0 0 0,0 0 1 0 0,0 0-1 0 0,-1 0 0 0 0,1-1 1 0 0,0 1-1 0 0,0 0 0 0 0,0 0 0 0 0,0 0 1 0 0,0 0-1 0 0,0 0 0 0 0,0 0 1 0 0,0 0-1 0 0,0-1 0 0 0,0 1 0 0 0,0 0 1 0 0,0 0-1 0 0,0 0 0 0 0,0 0 0 0 0,0 0 1 0 0,0 0-1 0 0,0-1 0 0 0,0 1 1 0 0,0 0-1 0 0,0 0 0 0 0,0 0 0 0 0,0 0 1 0 0,0 0-1 0 0,0-1 0 0 0,0 1 1 0 0,0 0-1 0 0,0 0 0 0 0,0 0 0 0 0,0 0 1 0 0,0 0-1 0 0,0 0 0 0 0,0-1 1 0 0,1-2-40 0 0,-1-1 0 0 0,1 1 0 0 0,0-1 1 0 0,0 1-1 0 0,0-1 0 0 0,0 1 0 0 0,0 0 1 0 0,1-1-1 0 0,0 1 0 0 0,0 0 0 0 0,0 0 1 0 0,0 0-1 0 0,0 0 0 0 0,3-3 0 0 0,8-7-40 0 0,23-19 0 0 0,-19 18 48 0 0,240-177 10 0 0,-153 118-337 0 0,-97 69 338 0 0,-6 4 25 0 0,1-1 0 0 0,-1 0-1 0 0,0 1 1 0 0,0-1-1 0 0,0 0 1 0 0,1 0 0 0 0,-1 0-1 0 0,0 0 1 0 0,0 1 0 0 0,0-1-1 0 0,-1-1 1 0 0,1 1 0 0 0,0 0-1 0 0,0 0 1 0 0,0 0-1 0 0,-1 0 1 0 0,1-1 0 0 0,-1 1-1 0 0,1-2 1 0 0,-6 3 223 0 0,-14 1-93 0 0,0 1 0 0 0,1 1-1 0 0,-1 0 1 0 0,1 1 0 0 0,-32 13 0 0 0,-90 44 29 0 0,-103 67 50 0 0,-63 30-282 0 0,257-135 28 0 0,-51 22-210 0 0,83-39 104 0 0,-1 0 0 0 0,1-1-1 0 0,-32 5 1 0 0,27-9-69 0 0,22-1 217 0 0,0 0 0 0 0,0 0-1 0 0,0 0 1 0 0,0 1 0 0 0,0-1-1 0 0,0 0 1 0 0,0 0-1 0 0,-1 0 1 0 0,1 0 0 0 0,0 0-1 0 0,0 0 1 0 0,0 0-1 0 0,0 0 1 0 0,0 0 0 0 0,0 0-1 0 0,0 0 1 0 0,-1 0 0 0 0,1 0-1 0 0,0 0 1 0 0,0 0-1 0 0,0-1 1 0 0,0 1 0 0 0,0 0-1 0 0,0 0 1 0 0,0 0-1 0 0,-1 0 1 0 0,1 0 0 0 0,0 0-1 0 0,0 0 1 0 0,0 0-1 0 0,0 0 1 0 0,0 0 0 0 0,0 0-1 0 0,0 0 1 0 0,0-1 0 0 0,0 1-1 0 0,0 0 1 0 0,0 0-1 0 0,-1 0 1 0 0,1 0 0 0 0,0 0-1 0 0,0 0 1 0 0,0 0-1 0 0,0-1 1 0 0,0 1 0 0 0,0 0-1 0 0,0 0 1 0 0,0 0 0 0 0,0 0-1 0 0,0 0 1 0 0,0 0-1 0 0,0 0 1 0 0,0-1 0 0 0,0 1-1 0 0,0 0 1 0 0,1 0-1 0 0,-1-4-16 0 0,0-1-1 0 0,1 1 0 0 0,0 0 1 0 0,-1 0-1 0 0,2 0 0 0 0,-1 0 1 0 0,0 0-1 0 0,1 0 0 0 0,0 0 0 0 0,0 1 1 0 0,0-1-1 0 0,0 0 0 0 0,1 1 1 0 0,5-7-1 0 0,4-2-19 0 0,0 1 1 0 0,22-15-1 0 0,-18 13 18 0 0,17-12 34 0 0,1 1-1 0 0,59-30 1 0 0,-85 49-71 0 0,-8 5 88 0 0,-14 8 254 0 0,-646 391 1482 0 0,564-339-1833 0 0,93-58-114 0 0,7-7-278 0 0,19-16 66 0 0,1 0 0 0 0,52-35 0 0 0,-35 28 337 0 0,-38 25 59 0 0,256-177-204 0 0,14 23-1253 0 0,-262 152 1404 0 0,-10 5 37 0 0,1-1 0 0 0,-1 1 0 0 0,1-1 0 0 0,-1 1-1 0 0,0-1 1 0 0,1 0 0 0 0,-1 0 0 0 0,0 0 0 0 0,0 0 0 0 0,2-1-1 0 0,-16 3 436 0 0,-29 12-125 0 0,1 2 0 0 0,1 1-1 0 0,-39 23 1 0 0,47-23-217 0 0,-307 164 696 0 0,113-56-741 0 0,214-117-91 0 0,-1 0 0 0 0,-26 8 0 0 0,39-15 49 0 0,0 0 0 0 0,0 0 0 0 0,0 0-1 0 0,-1 0 1 0 0,1 0 0 0 0,0 0 0 0 0,0 1 0 0 0,0-1-1 0 0,0 0 1 0 0,-1 0 0 0 0,1 0 0 0 0,0 0 0 0 0,0 0-1 0 0,0 0 1 0 0,0 0 0 0 0,-1 0 0 0 0,1 0-1 0 0,0 0 1 0 0,0 0 0 0 0,0 0 0 0 0,0 0 0 0 0,-1 0-1 0 0,1 0 1 0 0,0 0 0 0 0,0 0 0 0 0,0 0 0 0 0,0 0-1 0 0,-1 0 1 0 0,1-1 0 0 0,0 1 0 0 0,0 0 0 0 0,0 0-1 0 0,0 0 1 0 0,0 0 0 0 0,-1 0 0 0 0,1 0 0 0 0,0 0-1 0 0,0-1 1 0 0,0 1 0 0 0,0 0 0 0 0,0 0 0 0 0,0 0-1 0 0,0 0 1 0 0,-1 0 0 0 0,1-1 0 0 0,0 1 0 0 0,0 0-1 0 0,0 0 1 0 0,0 0 0 0 0,0 0 0 0 0,0-1 0 0 0,0 1-1 0 0,0 0 1 0 0,5-11-324 0 0,6-5 234 0 0,1 1 0 0 0,0 0 0 0 0,1 1 0 0 0,1 1 0 0 0,0 0 0 0 0,19-13 0 0 0,-3 1 88 0 0,343-256-13 0 0,-352 263 65 0 0,-37 19 589 0 0,-10 5-347 0 0,1 1 1 0 0,-40 15-1 0 0,-54 30-341 0 0,104-45 105 0 0,-211 101 362 0 0,-104 45-131 0 0,320-148-283 0 0,-7 3-28 0 0,-1-1 0 0 0,0-1-1 0 0,0 0 1 0 0,0-1 0 0 0,-35 5 0 0 0,52-10 9 0 0,0 0-1 0 0,0 0 0 0 0,0 0 1 0 0,0 0-1 0 0,0 0 1 0 0,0 0-1 0 0,0 0 0 0 0,0 0 1 0 0,0 0-1 0 0,0 0 1 0 0,0 0-1 0 0,0-1 1 0 0,0 1-1 0 0,1 0 0 0 0,-1-1 1 0 0,0 1-1 0 0,0-1 1 0 0,0 1-1 0 0,0-1 1 0 0,0 1-1 0 0,1-1 0 0 0,-1 0 1 0 0,0 1-1 0 0,1-1 1 0 0,-2-1-1 0 0,1 0-17 0 0,0 0-1 0 0,1-1 0 0 0,-1 1 1 0 0,1 0-1 0 0,0 0 0 0 0,0 0 1 0 0,-1 0-1 0 0,1 0 0 0 0,1-3 1 0 0,-1-1 75 0 0,0 0-53 0 0,1-1-1 0 0,0 1 1 0 0,0 0-1 0 0,1 0 1 0 0,-1 0-1 0 0,1 0 0 0 0,1 0 1 0 0,-1 0-1 0 0,1 1 1 0 0,0-1-1 0 0,0 1 1 0 0,0 0-1 0 0,1 0 0 0 0,5-5 1 0 0,7-8 1 0 0,1 1 1 0 0,26-20-1 0 0,-31 27 9 0 0,39-31-20 0 0,1 2-1 0 0,75-43 1 0 0,-105 73-28 0 0,-21 9 109 0 0,-19 2 852 0 0,-19 11-801 0 0,0 1 0 0 0,1 2 1 0 0,-40 24-1 0 0,49-25-79 0 0,-155 85 76 0 0,-90 47-23 0 0,266-144-72 0 0,-6 3-2 0 0,1-1-1 0 0,-2 0 0 0 0,-12 4 0 0 0,17-9-124 0 0,9-11-158 0 0,2 4 232 0 0,1 1 1 0 0,0-1 0 0 0,0 1 0 0 0,1-1-1 0 0,0 1 1 0 0,0 0 0 0 0,0 1 0 0 0,1-1-1 0 0,0 1 1 0 0,9-6 0 0 0,-12 9 40 0 0,100-84-133 0 0,4 5 0 0 0,182-103 1 0 0,-287 183 36 0 0,-8 1 276 0 0,-16 4 10 0 0,0 0 0 0 0,0 2 0 0 0,0 0 0 0 0,-33 15 0 0 0,-84 47 107 0 0,-44 31 206 0 0,68-34-430 0 0,-169 69 1 0 0,276-131-118 0 0,1-1 1 0 0,-1 0-1 0 0,0 0 1 0 0,-12 1-1 0 0,20-3 42 0 0,0 0-1 0 0,-1 0 1 0 0,1 0 0 0 0,-1 0 0 0 0,1 0-1 0 0,0 0 1 0 0,-1-1 0 0 0,1 1-1 0 0,0 0 1 0 0,-1 0 0 0 0,1 0 0 0 0,0-1-1 0 0,0 1 1 0 0,-1 0 0 0 0,1 0-1 0 0,0-1 1 0 0,0 1 0 0 0,-1 0 0 0 0,1 0-1 0 0,0-1 1 0 0,0 1 0 0 0,0 0-1 0 0,-1-1 1 0 0,1 1 0 0 0,0-1 0 0 0,0 1-1 0 0,0 0 1 0 0,0-1 0 0 0,0 1-1 0 0,0 0 1 0 0,0-1 0 0 0,0 1 0 0 0,0 0-1 0 0,0-1 1 0 0,0 1 0 0 0,0-1-1 0 0,0 1 1 0 0,0 0 0 0 0,0-1 0 0 0,0 1-1 0 0,0 0 1 0 0,0-1 0 0 0,1 1-1 0 0,-1 0 1 0 0,0-1 0 0 0,1-3-78 0 0,-1-1 42 0 0,1 1 0 0 0,0-1 0 0 0,0 1 0 0 0,1-1 0 0 0,-1 1 0 0 0,1 0 0 0 0,0 0 0 0 0,0 0 0 0 0,1 0 0 0 0,-1 0 0 0 0,6-6 0 0 0,4-4-32 0 0,23-21 0 0 0,-15 17 30 0 0,52-53-99 0 0,4 3 1 0 0,86-59-1 0 0,-156 123 104 0 0,-5 4 37 0 0,0 0 0 0 0,0-1 0 0 0,-1 1 0 0 0,1-1 0 0 0,0 1 0 0 0,0-1 0 0 0,-1 1 0 0 0,1-1 0 0 0,0 1 0 0 0,-1-1 0 0 0,1 0 0 0 0,0 1 0 0 0,-1-1 0 0 0,1 0 0 0 0,-1 0-1 0 0,1 1 1 0 0,-1-1 0 0 0,1 0 0 0 0,-1 0 0 0 0,0 0 0 0 0,0 0 0 0 0,1-1 0 0 0,-7 4 284 0 0,-56 27-57 0 0,1 2 0 0 0,-81 55-1 0 0,58-34 76 0 0,26-16-128 0 0,-12 8-84 0 0,-131 60 0 0 0,181-98-257 0 0,20-6 163 0 0,-1 0 0 0 0,1 0-1 0 0,0 0 1 0 0,0 0 0 0 0,-1 0 0 0 0,1 0 0 0 0,0 0 0 0 0,-1 0 0 0 0,1 0-1 0 0,0 0 1 0 0,0 0 0 0 0,-1 0 0 0 0,1 0 0 0 0,0 0 0 0 0,0 0 0 0 0,-1 0-1 0 0,1-1 1 0 0,0 1 0 0 0,0 0 0 0 0,0 0 0 0 0,-1 0 0 0 0,1 0 0 0 0,0 0-1 0 0,0-1 1 0 0,0 1 0 0 0,-1 0 0 0 0,1 0 0 0 0,0 0 0 0 0,0-1 0 0 0,0 1-1 0 0,0 0 1 0 0,0 0 0 0 0,0-1 0 0 0,-1 1 0 0 0,1 0 0 0 0,0 0 0 0 0,0-1-1 0 0,0 1 1 0 0,0 0 0 0 0,0 0 0 0 0,0-1 0 0 0,0 1 0 0 0,0 0 0 0 0,0-1-1 0 0,0 1 1 0 0,0 0 0 0 0,0 0 0 0 0,0-1 0 0 0,0 1 0 0 0,1 0 0 0 0,-1 0-1 0 0,0-1 1 0 0,0 1 0 0 0,0 0 0 0 0,0 0 0 0 0,0 0 0 0 0,1-1 0 0 0,-1-3-110 0 0,1-1 56 0 0,0 0-1 0 0,0 0 1 0 0,0 1 0 0 0,1-1-1 0 0,0 0 1 0 0,0 1-1 0 0,0 0 1 0 0,0-1 0 0 0,1 1-1 0 0,0 0 1 0 0,4-6 0 0 0,8-7-56 0 0,22-20 1 0 0,-13 15 44 0 0,43-42 24 0 0,3 3 0 0 0,110-74 0 0 0,-114 97-298 0 0,-65 38 315 0 0,-7 0 143 0 0,0 1-1 0 0,0 1 0 0 0,0-1 1 0 0,0 1-1 0 0,0 0 1 0 0,1 0-1 0 0,-1 1 1 0 0,-8 4-1 0 0,-2 1 6 0 0,-190 108 366 0 0,8 18 169 0 0,38-25-565 0 0,98-73-491 0 0,61-41-26 0 0,2 3 379 0 0,-1-1 0 0 0,1 1 0 0 0,0 0 0 0 0,0-1-1 0 0,0 1 1 0 0,0 0 0 0 0,0 0 0 0 0,0 0 0 0 0,0 0 0 0 0,1 0 0 0 0,-1 0 0 0 0,1 0 0 0 0,0 0 0 0 0,-1 0 0 0 0,1 1 0 0 0,0-1 0 0 0,2-1 0 0 0,7-6-101 0 0,166-157-76 0 0,-33 34-945 0 0,-138 126 1085 0 0,-5 6 81 0 0,0-1-1 0 0,0 0 1 0 0,0 1 0 0 0,0-1-1 0 0,-1 0 1 0 0,1 0-1 0 0,0 0 1 0 0,0 1 0 0 0,-1-1-1 0 0,1 0 1 0 0,-1 0-1 0 0,1 0 1 0 0,-1 0 0 0 0,1 0-1 0 0,-1 0 1 0 0,1 0-1 0 0,-1-1 1 0 0,1-1 0 0 0,-2 3 13 0 0,1 0 1 0 0,0 0-1 0 0,0 0 1 0 0,0 0 0 0 0,0 0-1 0 0,-1 0 1 0 0,1 0-1 0 0,0-1 1 0 0,0 1 0 0 0,0 0-1 0 0,0 0 1 0 0,-1 0-1 0 0,1 0 1 0 0,0 0 0 0 0,0 0-1 0 0,0 0 1 0 0,-1 0-1 0 0,1 0 1 0 0,0 0 0 0 0,0 0-1 0 0,-1 0 1 0 0,1 0-1 0 0,0 0 1 0 0,0 0 0 0 0,0 0-1 0 0,0 0 1 0 0,-1 0-1 0 0,1 1 1 0 0,0-1 0 0 0,0 0-1 0 0,0 0 1 0 0,-1 0-1 0 0,1 0 1 0 0,0 0 0 0 0,0 0-1 0 0,0 1 1 0 0,-2-1 43 0 0,-48 20 337 0 0,1 1 0 0 0,-73 46 0 0 0,70-38 3 0 0,-314 174 625 0 0,354-196-1013 0 0,9-5-19 0 0,-1 1-1 0 0,0-1 1 0 0,0 0 0 0 0,0 0 0 0 0,0-1-1 0 0,0 1 1 0 0,-1-1 0 0 0,1 0 0 0 0,-6 1-1 0 0,9-5-330 0 0,0-3 247 0 0,1 0 0 0 0,0-1 0 0 0,1 1 0 0 0,-1 0 0 0 0,1 0 0 0 0,1 0 0 0 0,-1-1 0 0 0,1 1 0 0 0,0 1 0 0 0,0-1 0 0 0,1 0 0 0 0,3-7 0 0 0,10-10 52 0 0,1 1 0 0 0,1 1 0 0 0,1 0 0 0 0,0 1 0 0 0,2 1 0 0 0,0 1 0 0 0,29-19 0 0 0,-44 35-139 0 0,-12 10 199 0 0,-144 103 977 0 0,52-40-304 0 0,-163 130 475 0 0,243-186-1147 0 0,-10 7-62 0 0,33-35-925 0 0,30-25 532 0 0,59-51 1 0 0,-36 36 420 0 0,113-117-1370 0 0,-166 165 1298 0 0,-4 4 84 0 0,0 0 1 0 0,0 1-1 0 0,0-1 0 0 0,-1 0 1 0 0,1 1-1 0 0,0-1 0 0 0,-1 0 0 0 0,1 0 1 0 0,-1 1-1 0 0,1-1 0 0 0,-1 0 0 0 0,1 0 1 0 0,-1 0-1 0 0,1 0 0 0 0,-1-2 0 0 0,-6 3 137 0 0,-5 1-61 0 0,-1 1 0 0 0,1 0 0 0 0,0 1 0 0 0,0 1 0 0 0,0-1 0 0 0,0 2 0 0 0,1 0 0 0 0,-12 7-1 0 0,-6 1 32 0 0,-231 129 1500 0 0,69-35-708 0 0,171-97-799 0 0,-24 9 0 0 0,37-17-80 0 0,0 0 0 0 0,1-1 0 0 0,-1 0 0 0 0,0 1 0 0 0,0-2 0 0 0,0 1 0 0 0,-1-1 0 0 0,-10-1 0 0 0,14 1-33 0 0,1-1 0 0 0,0 0 0 0 0,-1 1 0 0 0,1-1 1 0 0,0 0-1 0 0,0 0 0 0 0,0 0 0 0 0,0-1 0 0 0,0 1 0 0 0,0 0 1 0 0,0-1-1 0 0,0 0 0 0 0,-2-2 0 0 0,-20-28-333 0 0,16 20 274 0 0,-9-15-66 0 0,-20-42 1 0 0,28 48 106 0 0,-2 0 1 0 0,0 1 0 0 0,-2 0-1 0 0,-22-27 1 0 0,32 43 39 0 0,-1 1 1 0 0,0 0 0 0 0,0 0-1 0 0,0 1 1 0 0,0-1 0 0 0,-1 1-1 0 0,1 0 1 0 0,-1 0 0 0 0,1 0-1 0 0,-1 1 1 0 0,1 0 0 0 0,-1-1-1 0 0,0 2 1 0 0,-8-2 0 0 0,4 2 29 0 0,0 0-1 0 0,1 0 1 0 0,-1 0 0 0 0,0 1 0 0 0,1 1 0 0 0,-1 0 0 0 0,-13 4 0 0 0,-17 12 97 0 0,29-13-39 0 0,-1 0-1 0 0,1 0 0 0 0,-20 5 0 0 0,30-10-86 0 0,0 0-1 0 0,-1 0 1 0 0,1 0-1 0 0,0 0 1 0 0,-1-1-1 0 0,1 1 1 0 0,0 0 0 0 0,-1 0-1 0 0,1 0 1 0 0,0 0-1 0 0,-1 0 1 0 0,1 0-1 0 0,0 0 1 0 0,0-1-1 0 0,-1 1 1 0 0,1 0-1 0 0,0 0 1 0 0,0 0-1 0 0,-1-1 1 0 0,1 1-1 0 0,0 0 1 0 0,0 0-1 0 0,0 0 1 0 0,-1-1-1 0 0,1 1 1 0 0,0 0-1 0 0,0-1 1 0 0,0 1-1 0 0,0 0 1 0 0,0 0-1 0 0,-1-1 1 0 0,1 1-1 0 0,0 0 1 0 0,0-1-1 0 0,0 1 1 0 0,0 0-1 0 0,0-1 1 0 0,0 1-1 0 0,0 0 1 0 0,0-1-1 0 0,0-17-147 0 0,1 12 85 0 0,-1-11-16 0 0,-1 6 54 0 0,1 1-1 0 0,0-1 1 0 0,1 1 0 0 0,0-1-1 0 0,1 1 1 0 0,5-18 0 0 0,0 9-54 0 0,0 1 0 0 0,2 0 1 0 0,0 0-1 0 0,1 1 1 0 0,16-21-1 0 0,-24 35 64 0 0,2-2-3 0 0,-3 8 47 0 0,2 13 72 0 0,2 3-23 0 0,-5-16-67 0 0,1 1 1 0 0,0-1-1 0 0,0 1 0 0 0,0-1 1 0 0,0 1-1 0 0,2 3 1 0 0,-2-7-16 0 0,-1 1 0 0 0,1 0 0 0 0,-1-1 1 0 0,1 1-1 0 0,0 0 0 0 0,-1-1 0 0 0,1 1 0 0 0,0-1 1 0 0,-1 1-1 0 0,1-1 0 0 0,0 0 0 0 0,0 1 0 0 0,0-1 1 0 0,-1 0-1 0 0,1 1 0 0 0,0-1 0 0 0,0 0 0 0 0,0 0 1 0 0,0 0-1 0 0,-1 0 0 0 0,1 0 0 0 0,0 0 0 0 0,0 0 1 0 0,0 0-1 0 0,0 0 0 0 0,0 0 0 0 0,-1 0 1 0 0,1 0-1 0 0,0-1 0 0 0,0 1 0 0 0,0 0 0 0 0,-1-1 1 0 0,1 1-1 0 0,0 0 0 0 0,0-1 0 0 0,0 0 0 0 0,2-1-16 0 0,0 0 0 0 0,0 0 0 0 0,0 0 0 0 0,0 0-1 0 0,-1-1 1 0 0,1 1 0 0 0,2-4 0 0 0,2-5 34 0 0,0-1 0 0 0,0 1 1 0 0,-1-1-1 0 0,-1 0 0 0 0,0-1 0 0 0,0 1 0 0 0,-1-1 0 0 0,3-22 1 0 0,-2-2-122 0 0,-2-68 1 0 0,2 117 180 0 0,0 1 0 0 0,0-1 0 0 0,1 0 1 0 0,9 12-1 0 0,2 7-2 0 0,-11-20-50 0 0,-4-5-14 0 0,1-1 0 0 0,0 1 0 0 0,0-1 0 0 0,0 0-1 0 0,0 0 1 0 0,1 0 0 0 0,0 0 0 0 0,0 0 0 0 0,1-1 0 0 0,7 6-1 0 0,-9-10-24 0 0,-2-7-17 0 0,-1 6 30 0 0,6-149-54 0 0,-2 47-208 0 0,-4 102 263 0 0,-1 1 0 0 0,1-1 0 0 0,0 0-1 0 0,0 0 1 0 0,0 1 0 0 0,0-1 0 0 0,0 0-1 0 0,0 0 1 0 0,1 1 0 0 0,-1-1 0 0 0,0 0 0 0 0,0 0-1 0 0,0 1 1 0 0,1-1 0 0 0,-1 0 0 0 0,0 0-1 0 0,1 1 1 0 0,-1-1 0 0 0,2-1 0 0 0,-2 2 4 0 0,0 0 1 0 0,1 1-1 0 0,-1-1 1 0 0,1 0-1 0 0,-1 0 0 0 0,1 0 1 0 0,-1 0-1 0 0,0 0 1 0 0,1 0-1 0 0,-1 1 1 0 0,1-1-1 0 0,-1 0 0 0 0,0 0 1 0 0,1 1-1 0 0,-1-1 1 0 0,0 0-1 0 0,1 1 1 0 0,-1-1-1 0 0,0 0 1 0 0,1 1-1 0 0,-1-1 0 0 0,0 0 1 0 0,1 1-1 0 0,16 29 168 0 0,-17-30-166 0 0,7 17 204 0 0,-1 0-1 0 0,-1 1 1 0 0,4 22-1 0 0,-10-45-229 0 0,0 1-1 0 0,0 0 1 0 0,0-1-1 0 0,-1 1 1 0 0,0 0 0 0 0,0 0-1 0 0,0 0 1 0 0,0 0-1 0 0,-1 1 1 0 0,1-1 0 0 0,-1 0-1 0 0,0 1 1 0 0,-6-6-1 0 0,4 5-2 0 0,1-1-1 0 0,0 0 0 0 0,0 0 0 0 0,0-1 0 0 0,1 1 1 0 0,-5-11-1 0 0,6 4-243 0 0,2 7 20 0 0,2 6 47 0 0,1 6 315 0 0,1 0 0 0 0,1 0 0 0 0,8 9-1 0 0,-8-9-70 0 0,1-1 0 0 0,-1 1 0 0 0,7 14 0 0 0,-7-14 31 0 0,-4-13 88 0 0,-6-15-146 0 0,2 17-31 0 0,0 0 0 0 0,0 1 0 0 0,0 0 0 0 0,-1 0-1 0 0,1 0 1 0 0,-6-3 0 0 0,6 4 17 0 0,0 0 0 0 0,-1-1-1 0 0,1 1 1 0 0,0-1 0 0 0,1 1-1 0 0,-1-1 1 0 0,0 0 0 0 0,1 0-1 0 0,0 0 1 0 0,-4-6-1 0 0,5 4-37 0 0,0-1 0 0 0,1 1-1 0 0,0-1 1 0 0,-1 0-1 0 0,2 1 1 0 0,0-8 0 0 0,0-4 8 0 0,-1 16 28 0 0,0 1 0 0 0,-1-1 0 0 0,1 1 0 0 0,0-1 0 0 0,0 1 0 0 0,-1-1 0 0 0,1 1 1 0 0,0 0-1 0 0,0-1 0 0 0,-1 1 0 0 0,1 0 0 0 0,0-1 0 0 0,-1 1 0 0 0,1 0 0 0 0,0-1 1 0 0,-1 1-1 0 0,1 0 0 0 0,-1 0 0 0 0,1-1 0 0 0,-1 1 0 0 0,1 0 0 0 0,0 0 0 0 0,-1 0 1 0 0,1 0-1 0 0,-1-1 0 0 0,1 1 0 0 0,-1 0 0 0 0,1 0 0 0 0,-1 0 0 0 0,-14-1 138 0 0,14 1-98 0 0,-5 0 24 0 0,5 0-58 0 0,1 0-5 0 0,0-1 0 0 0,0 1 0 0 0,1 0 0 0 0,-1-1 0 0 0,0 1 1 0 0,0-1-1 0 0,0 1 0 0 0,1 0 0 0 0,-1 0 0 0 0,0-1 0 0 0,1 1 0 0 0,-1 0 0 0 0,0-1 0 0 0,1 1 0 0 0,-1 0 0 0 0,0 0 1 0 0,1 0-1 0 0,-1-1 0 0 0,0 1 0 0 0,1 0 0 0 0,-1 0 0 0 0,0 0 0 0 0,1 0 0 0 0,-1 0 0 0 0,1 0 0 0 0,-1 0 0 0 0,1-1 0 0 0,-1 1 1 0 0,0 0-1 0 0,1 1 0 0 0,-1-1 0 0 0,1 0 0 0 0,-1 0 0 0 0,0 0 0 0 0,1 0 0 0 0,-1 0 0 0 0,1 0 0 0 0,0 1 0 0 0,19 4-84 0 0,-19-4 84 0 0,20 6-12 0 0,0 0 0 0 0,-1 2 0 0 0,29 17-1 0 0,-42-22 11 0 0,1 1-1 0 0,-1 1 1 0 0,0 0-1 0 0,-1 0 0 0 0,1 0 1 0 0,-1 0-1 0 0,0 1 1 0 0,-1 0-1 0 0,1 1 0 0 0,-2-1 1 0 0,8 14-1 0 0,-5-4 11 0 0,-1 1 0 0 0,-1 0-1 0 0,0 1 1 0 0,-1-1 0 0 0,-1 1-1 0 0,0 18 1 0 0,-4 117 141 0 0,-2-129-112 0 0,-1 0 0 0 0,-1-1 0 0 0,-2 1 0 0 0,-16 42 0 0 0,12-37-18 0 0,-18 42 115 0 0,17-43-16 0 0,0 0 0 0 0,2 2-1 0 0,-6 31 1 0 0,14-39-116 0 0,2-20-16 0 0,1 4-140 0 0,11-8-75 0 0,2-4 196 0 0,1 0 1 0 0,-1-1-1 0 0,1 0 0 0 0,-2-1 0 0 0,24-16 1 0 0,66-53 29 0 0,-103 76 5 0 0,320-281 82 0 0,-101 83-674 0 0,-179 165 456 0 0,-38 31 88 0 0,-2 6 379 0 0,0 1-265 0 0,-1 0 0 0 0,0 0 0 0 0,0 0 0 0 0,0 0 1 0 0,-1 0-1 0 0,0-1 0 0 0,0 1 0 0 0,0 0 0 0 0,0-1 0 0 0,-4 5 0 0 0,-35 49-8 0 0,14-23 45 0 0,-49 72 188 0 0,-106 113 0 0 0,180-217-342 0 0,2-5 2 0 0,0 1 0 0 0,0-1-1 0 0,0 1 1 0 0,0-1-1 0 0,1 1 1 0 0,-1-1 0 0 0,1 1-1 0 0,-1-1 1 0 0,1 1 0 0 0,-1-1-1 0 0,1 1 1 0 0,0 0 0 0 0,0-1-1 0 0,-1 1 1 0 0,3-2 0 0 0,11-15-114 0 0,33-32 0 0 0,-27 29 163 0 0,56-55 24 0 0,4 3 0 0 0,2 3 0 0 0,163-103 0 0 0,-241 170-31 0 0,6-3-25 0 0,0 0-1 0 0,20-7 1 0 0,-30 12 29 0 0,0 1-1 0 0,0 0 1 0 0,0 0 0 0 0,0 0-1 0 0,0 0 1 0 0,1 0 0 0 0,-1 0 0 0 0,0 0-1 0 0,0 0 1 0 0,0 0 0 0 0,0 0-1 0 0,0 0 1 0 0,1 0 0 0 0,-1 0-1 0 0,0 0 1 0 0,0 0 0 0 0,0 0-1 0 0,0 0 1 0 0,0 0 0 0 0,1 0-1 0 0,-1 0 1 0 0,0 0 0 0 0,0 0-1 0 0,0 0 1 0 0,0 0 0 0 0,1 0 0 0 0,-1 0-1 0 0,0 0 1 0 0,0 0 0 0 0,0 0-1 0 0,0 0 1 0 0,0 0 0 0 0,0 1-1 0 0,1-1 1 0 0,-1 0 0 0 0,0 0-1 0 0,0 0 1 0 0,0 0 0 0 0,0 0-1 0 0,0 0 1 0 0,0 1 0 0 0,0 6 1 0 0,-1-4 18 0 0,0 3 35 0 0,-1 0 1 0 0,0-1-1 0 0,0 1 0 0 0,0-1 1 0 0,0 1-1 0 0,-1-1 1 0 0,0 0-1 0 0,-5 6 0 0 0,-34 39 167 0 0,21-27-138 0 0,-147 168 228 0 0,-150 179 67 0 0,277-317-346 0 0,249-242-1202 0 0,-124 118 1164 0 0,50-44-11 0 0,179-118 0 0 0,-294 222-185 0 0,-15 11 24 0 0,-5 4 230 0 0,0-1-32 0 0,-1 2 36 0 0,0 0-1 0 0,0 1 0 0 0,-1-1 0 0 0,1 0 1 0 0,-1-1-1 0 0,0 1 0 0 0,-1 0 0 0 0,-3 4 1 0 0,-39 35 137 0 0,12-12-90 0 0,-222 275 733 0 0,28 19-685 0 0,212-303-139 0 0,8-11 1 0 0,0 0-1 0 0,-10 18 1 0 0,18-29-38 0 0,-3 7 54 0 0,3-8-34 0 0,1 0 0 0 0,-1 0-1 0 0,0 0 1 0 0,0 1 0 0 0,0-1 0 0 0,0 0-1 0 0,0 0 1 0 0,0 0 0 0 0,0 0 0 0 0,0 0-1 0 0,0 1 1 0 0,1-1 0 0 0,-1 0 0 0 0,0 0-1 0 0,0 0 1 0 0,0 0 0 0 0,0 0 0 0 0,0 0 0 0 0,0 0-1 0 0,1 1 1 0 0,-1-1 0 0 0,0 0 0 0 0,0 0-1 0 0,0 0 1 0 0,0 0 0 0 0,1 0 0 0 0,-1 0-1 0 0,0 0 1 0 0,0 0 0 0 0,0 0 0 0 0,1 0-1 0 0,-1 0 1 0 0,0 0 0 0 0,0 0 0 0 0,0 0-1 0 0,0 0 1 0 0,1 0 0 0 0,-1 0 0 0 0,0 0-1 0 0,0 0 1 0 0,0 0 0 0 0,0-1 0 0 0,1 1-1 0 0,-1 0 1 0 0,0 0 0 0 0,0 0 0 0 0,0 0 0 0 0,0 0-1 0 0,23-10-118 0 0,0 0 0 0 0,-1-1 0 0 0,37-25 0 0 0,-20 12 94 0 0,50-32 44 0 0,242-132 31 0 0,-317 181-55 0 0,36-14-110 0 0,-46 19 42 0 0,1 1 0 0 0,0 0 0 0 0,0 0 0 0 0,0 0 0 0 0,0 0 0 0 0,0 1 0 0 0,9 0 0 0 0,-14 0 73 0 0,0 0 0 0 0,0 0 0 0 0,0 0-1 0 0,1 0 1 0 0,-1 0 0 0 0,0 0 0 0 0,0 0 0 0 0,0 0 0 0 0,0 0 0 0 0,1 0 0 0 0,-1 1 0 0 0,0-1 0 0 0,0 0 0 0 0,0 0 0 0 0,0 0 0 0 0,0 0 0 0 0,1 0 0 0 0,-1 0 0 0 0,0 1-1 0 0,0-1 1 0 0,0 0 0 0 0,0 0 0 0 0,0 0 0 0 0,0 0 0 0 0,0 1 0 0 0,0-1 0 0 0,0 0 0 0 0,0 0 0 0 0,0 0 0 0 0,0 0 0 0 0,0 1 0 0 0,0-1 0 0 0,0 0 0 0 0,0 0 0 0 0,0 0-1 0 0,0 0 1 0 0,0 1 0 0 0,0-1 0 0 0,0 0 0 0 0,0 0 0 0 0,0 0 0 0 0,0 0 0 0 0,0 1 0 0 0,0-1 0 0 0,0 0 0 0 0,0 7 46 0 0,0 1 1 0 0,-1-1-1 0 0,0 0 0 0 0,0 0 1 0 0,0 0-1 0 0,-1 0 0 0 0,0 0 1 0 0,0 0-1 0 0,-1 0 0 0 0,0 0 1 0 0,0-1-1 0 0,0 1 0 0 0,-1-1 1 0 0,0 0-1 0 0,-5 6 0 0 0,-201 222 1347 0 0,120-138-1316 0 0,69-71-282 0 0,36-42-26 0 0,-1 1 0 0 0,2 0-1 0 0,0 1 1 0 0,21-15 0 0 0,-7 6 178 0 0,0-1 85 0 0,74-62-72 0 0,156-101 0 0 0,-215 158-136 0 0,-43 29 22 0 0,-2 2 192 0 0,-1 1 1 0 0,1-1-1 0 0,-1 1 1 0 0,1-1 0 0 0,-1 0-1 0 0,0 1 1 0 0,0-1 0 0 0,1 0-1 0 0,-1 1 1 0 0,0-1 0 0 0,0 0-1 0 0,-1 0 1 0 0,1 0-1 0 0,-1 1 1 0 0,0 0 11 0 0,-20 16 96 0 0,0 0 0 0 0,-38 21 0 0 0,21-14-56 0 0,-190 116 349 0 0,-402 184 0 0 0,316-197-643 0 0,233-101 10 0 0,-161 33 0 0 0,200-54 32 0 0,-83 1 1 0 0,125-7 160 0 0,-7 0-60 0 0,0 0-1 0 0,1 0 1 0 0,-1-1 0 0 0,-11-2-1 0 0,17 2 52 0 0,0 0 0 0 0,0 1 1 0 0,0-1-1 0 0,1 0 0 0 0,-1 0 0 0 0,0 0 0 0 0,0 0 0 0 0,1-1 0 0 0,-1 1 0 0 0,0 0 1 0 0,1-1-1 0 0,-1 1 0 0 0,1-1 0 0 0,0 0 0 0 0,0 1 0 0 0,-1-1 0 0 0,1 0 1 0 0,0 0-1 0 0,0 0 0 0 0,0-2 0 0 0,-2-4-28 0 0,1-1 0 0 0,1 0 0 0 0,0 0 0 0 0,0 1 1 0 0,0-1-1 0 0,1 0 0 0 0,1 0 0 0 0,-1 0 0 0 0,4-12 0 0 0,-1 9 28 0 0,0 0-1 0 0,1 1 0 0 0,0-1 1 0 0,1 1-1 0 0,0 0 0 0 0,1 0 1 0 0,0 1-1 0 0,0 0 1 0 0,2 0-1 0 0,11-14 0 0 0,10-6-9 0 0,54-44 0 0 0,-79 70 13 0 0,13-10 6 0 0,25-17 0 0 0,-37 28-12 0 0,0 0 0 0 0,-1 1 0 0 0,2-1 0 0 0,-1 1 0 0 0,0 0 0 0 0,0 0 0 0 0,1 1 0 0 0,-1 0 0 0 0,1 0 0 0 0,8-1 0 0 0,-13 3 23 0 0,-1-1 1 0 0,1 0 0 0 0,0 1 0 0 0,0-1 0 0 0,-1 1-1 0 0,1-1 1 0 0,0 1 0 0 0,-1 0 0 0 0,1-1-1 0 0,-1 1 1 0 0,1 0 0 0 0,-1-1 0 0 0,1 1 0 0 0,-1 0-1 0 0,1-1 1 0 0,-1 1 0 0 0,0 0 0 0 0,1 0 0 0 0,-1 0-1 0 0,0-1 1 0 0,0 1 0 0 0,0 0 0 0 0,1 0 0 0 0,-1 0-1 0 0,0 0 1 0 0,0 1 0 0 0,2 31 437 0 0,-2-27-336 0 0,2 371 1519 0 0,-3-199-1382 0 0,4-126-598 0 0,18-92 61 0 0,44-87 180 0 0,-53 99 113 0 0,0-1-1 0 0,12-50 1 0 0,-15 32-183 0 0,-2-1 0 0 0,-1 1 0 0 0,-3-2-1 0 0,-5-81 1 0 0,2 118 126 0 0,-2-1 0 0 0,1 1 0 0 0,-2-1 0 0 0,1 1 0 0 0,-2 0 0 0 0,0 0 0 0 0,0 0 0 0 0,-1 0 0 0 0,-13-21 0 0 0,6 20 49 0 0,12 13 13 0 0,0 0 1 0 0,0 0-1 0 0,-1-1 0 0 0,1 1 1 0 0,0 0-1 0 0,0 0 1 0 0,-1 0-1 0 0,1-1 0 0 0,0 1 1 0 0,-1 0-1 0 0,1 0 1 0 0,0 0-1 0 0,-1 0 0 0 0,1 0 1 0 0,0 0-1 0 0,-1-1 0 0 0,1 1 1 0 0,0 0-1 0 0,-1 0 1 0 0,1 0-1 0 0,0 0 0 0 0,-1 0 1 0 0,1 0-1 0 0,0 0 1 0 0,-1 1-1 0 0,1-1 0 0 0,0 0 1 0 0,-1 0-1 0 0,1 0 1 0 0,0 0-1 0 0,0 0 0 0 0,-1 0 1 0 0,1 1-1 0 0,0-1 0 0 0,-1 0 1 0 0,1 0-1 0 0,0 0 1 0 0,0 1-1 0 0,-1-1 0 0 0,1 0 1 0 0,0 0-1 0 0,0 1 1 0 0,0-1-1 0 0,-1 0 0 0 0,1 1 1 0 0,-2 6 93 0 0,1 0 1 0 0,0 0-1 0 0,0 1 1 0 0,0-1 0 0 0,1 0-1 0 0,1 13 1 0 0,-1 2 24 0 0,0 14-6 0 0,-1 38 31 0 0,4 0 0 0 0,16 109 0 0 0,4-70 23 0 0,-6 1 1 0 0,3 124 0 0 0,-19 64-47 0 0,1-338-433 0 0,14-69 0 0 0,-1 9 244 0 0,-1-111-887 0 0,10-67-87 0 0,-18 248 1030 0 0,-5 25 10 0 0,-1 1-1 0 0,1-1 1 0 0,-1 0-1 0 0,1 0 1 0 0,-1 0 0 0 0,1 0-1 0 0,0 1 1 0 0,0-1-1 0 0,-1 0 1 0 0,1 0 0 0 0,0 1-1 0 0,0-1 1 0 0,0 1-1 0 0,0-1 1 0 0,-1 1-1 0 0,1-1 1 0 0,0 1 0 0 0,0 0-1 0 0,1-1 1 0 0,-1 1 2 0 0,-1 0 1 0 0,1 0 0 0 0,-1-1-1 0 0,1 1 1 0 0,0 0-1 0 0,-1 0 1 0 0,1 0 0 0 0,-1 0-1 0 0,1 0 1 0 0,-1 1 0 0 0,1-1-1 0 0,0 0 1 0 0,-1 0-1 0 0,1 0 1 0 0,-1 0 0 0 0,1 1-1 0 0,-1-1 1 0 0,1 0 0 0 0,-1 0-1 0 0,1 1 1 0 0,-1-1-1 0 0,1 0 1 0 0,-1 1 0 0 0,0-1-1 0 0,1 1 1 0 0,-1-1 0 0 0,1 1-1 0 0,7 16 192 0 0,-5-11-109 0 0,133 350 1762 0 0,-106-261-1757 0 0,31 179 0 0 0,-52-163-56 0 0,-8-73 31 0 0,8 40-1 0 0,-9-78-68 0 0,0 1-1 0 0,0-1 1 0 0,0 0 0 0 0,0 1-1 0 0,0-1 1 0 0,0 1 0 0 0,0-1-1 0 0,0 0 1 0 0,0 1 0 0 0,0-1-1 0 0,0 0 1 0 0,0 1-1 0 0,0-1 1 0 0,0 1 0 0 0,1-1-1 0 0,-1 0 1 0 0,0 1 0 0 0,0-1-1 0 0,0 0 1 0 0,1 1 0 0 0,-1-1-1 0 0,0 0 1 0 0,0 0-1 0 0,1 1 1 0 0,-1-1 0 0 0,0 0-1 0 0,1 0 1 0 0,-1 1 0 0 0,0-1-1 0 0,1 0 1 0 0,-1 0 0 0 0,0 0-1 0 0,1 0 1 0 0,-1 0-1 0 0,0 1 1 0 0,1-1 0 0 0,-1 0-1 0 0,0 0 1 0 0,1 0 0 0 0,-1 0-1 0 0,1 0 1 0 0,-1 0-1 0 0,0 0 1 0 0,1 0 0 0 0,-1 0-1 0 0,0 0 1 0 0,1-1 0 0 0,-1 1-1 0 0,1 0 1 0 0,-1 0 0 0 0,0 0-1 0 0,1 0 1 0 0,-1 0-1 0 0,0-1 1 0 0,1 1 0 0 0,-1 0-1 0 0,0 0 1 0 0,0-1 0 0 0,1 1-1 0 0,-1 0 1 0 0,0 0 0 0 0,0-1-1 0 0,1 1 1 0 0,-1 0-1 0 0,0-1 1 0 0,4-6-144 0 0,-1-1 0 0 0,1 1 1 0 0,-2-1-1 0 0,1 1 0 0 0,-1-1 0 0 0,1-11 0 0 0,1 4 65 0 0,24-169-218 0 0,-21 116 86 0 0,22-86 1 0 0,-24 134 221 0 0,1 0 0 0 0,1 1 1 0 0,1 0-1 0 0,1 0 0 0 0,0 1 1 0 0,1 0-1 0 0,1 0 1 0 0,22-26-1 0 0,-28 39-9 0 0,1-1 0 0 0,-1 1 0 0 0,1 0 0 0 0,0 1 0 0 0,1-1 1 0 0,7-3-1 0 0,-13 7-2 0 0,1 0 0 0 0,0 1 0 0 0,0-1 0 0 0,0 0 1 0 0,0 1-1 0 0,0-1 0 0 0,0 1 0 0 0,0 0 0 0 0,0-1 1 0 0,0 1-1 0 0,1 0 0 0 0,1 0 0 0 0,-3 1 3 0 0,0-1 0 0 0,0 0 0 0 0,0 1 0 0 0,0-1 0 0 0,0 1 0 0 0,0-1 1 0 0,0 1-1 0 0,0 0 0 0 0,0-1 0 0 0,0 1 0 0 0,0 0 0 0 0,0 0 0 0 0,0-1 0 0 0,-1 1 0 0 0,1 0 0 0 0,0 0 0 0 0,0 0 0 0 0,-1 0 0 0 0,1 0 0 0 0,-1 0 0 0 0,1 0 0 0 0,-1 0 0 0 0,1 1 1 0 0,2 11 150 0 0,-1-1 0 0 0,0 0 0 0 0,0 1 1 0 0,-1-1-1 0 0,-1 1 0 0 0,-1 17 1 0 0,0 4 50 0 0,1-4-90 0 0,0 39 331 0 0,-14 122 1 0 0,7-142-222 0 0,26-67-384 0 0,236-353-382 0 0,35-44 183 0 0,-283 406 352 0 0,1-1-53 0 0,0 0-1 0 0,0 1 0 0 0,2 0 1 0 0,15-12-1 0 0,-25 20 54 0 0,0 1 1 0 0,1 0-1 0 0,-1 0 1 0 0,0 0-1 0 0,0 0 1 0 0,0-1-1 0 0,1 1 1 0 0,-1 0-1 0 0,0 0 0 0 0,0 0 1 0 0,0 0-1 0 0,1 0 1 0 0,-1 0-1 0 0,0 0 1 0 0,0 0-1 0 0,0 0 0 0 0,1 0 1 0 0,-1 0-1 0 0,0 0 1 0 0,0 0-1 0 0,1 0 1 0 0,-1 0-1 0 0,0 0 1 0 0,0 0-1 0 0,0 0 0 0 0,1 0 1 0 0,-1 0-1 0 0,0 0 1 0 0,0 0-1 0 0,1 0 1 0 0,-1 0-1 0 0,0 0 1 0 0,0 0-1 0 0,0 1 0 0 0,0-1 1 0 0,1 0-1 0 0,-1 0 1 0 0,0 0-1 0 0,0 0 1 0 0,0 1-1 0 0,0-1 0 0 0,1 0 1 0 0,-1 0-1 0 0,0 0 1 0 0,0 0-1 0 0,0 1 1 0 0,0-1-1 0 0,0 0 1 0 0,0 0-1 0 0,0 1 0 0 0,0-1 1 0 0,0 0-1 0 0,0 0 1 0 0,0 0-1 0 0,0 1 1 0 0,0-1-1 0 0,0 0 1 0 0,0 1-1 0 0,0 17-90 0 0,0-14 68 0 0,-2 6 95 0 0,1-1 0 0 0,-1 1 0 0 0,-1-1 1 0 0,0 1-1 0 0,0-1 0 0 0,-1 0 0 0 0,-6 12 0 0 0,-43 61 514 0 0,19-32-395 0 0,-406 626 1070 0 0,402-619-1298 0 0,-27 33 166 0 0,61-87-120 0 0,4-7-50 0 0,0 0 2 0 0,0 0 1 0 0,1-1 0 0 0,-1 1 0 0 0,1 0 0 0 0,0 0-1 0 0,0 0 1 0 0,1 0 0 0 0,-1 0 0 0 0,4-4 0 0 0,22-33-214 0 0,-13 21 164 0 0,302-402-235 0 0,29 28 144 0 0,-318 366 171 0 0,67-64-8 0 0,-79 79-15 0 0,0 1 0 0 0,1 0-1 0 0,0 2 1 0 0,27-14 0 0 0,-43 24 37 0 0,-1 0-1 0 0,1 0 1 0 0,0 0 0 0 0,0 1 0 0 0,0-1 0 0 0,0 0-1 0 0,0 0 1 0 0,0 0 0 0 0,0 0 0 0 0,0 0-1 0 0,0 0 1 0 0,0 0 0 0 0,0 1 0 0 0,0-1 0 0 0,0 0-1 0 0,0 0 1 0 0,0 0 0 0 0,0 0 0 0 0,0 0 0 0 0,0 0-1 0 0,0 1 1 0 0,0-1 0 0 0,0 0 0 0 0,0 0 0 0 0,0 0-1 0 0,0 0 1 0 0,0 0 0 0 0,1 0 0 0 0,-1 0-1 0 0,0 1 1 0 0,0-1 0 0 0,0 0 0 0 0,0 0 0 0 0,0 0-1 0 0,0 0 1 0 0,0 0 0 0 0,0 0 0 0 0,0 0 0 0 0,1 0-1 0 0,-1 0 1 0 0,0 0 0 0 0,0 0 0 0 0,0 0 0 0 0,0 0-1 0 0,0 0 1 0 0,0 0 0 0 0,1 1 0 0 0,-1-1-1 0 0,0 0 1 0 0,0 0 0 0 0,0 0 0 0 0,0 0 0 0 0,0-1-1 0 0,0 1 1 0 0,1 0 0 0 0,-1 0 0 0 0,0 0 0 0 0,0 0-1 0 0,0 0 1 0 0,0 0 0 0 0,0 0 0 0 0,0 0 0 0 0,1 0-1 0 0,-2 7 13 0 0,1 0 0 0 0,-1 0 0 0 0,-1 0 0 0 0,1 0 0 0 0,-1 0 0 0 0,0 0 0 0 0,-1 0 0 0 0,-5 9 0 0 0,-4 7 169 0 0,-18 23 0 0 0,16-25-150 0 0,-296 422 689 0 0,207-312-413 0 0,-144 141 1 0 0,206-232-287 0 0,31-34 2 0 0,9-6-21 0 0,1 0 0 0 0,0 0 0 0 0,0 0 0 0 0,0 0 1 0 0,0 0-1 0 0,0 0 0 0 0,0 0 0 0 0,-1 0 0 0 0,1 0 1 0 0,0 0-1 0 0,0 0 0 0 0,0 0 0 0 0,0 0 0 0 0,0 0 0 0 0,-1 0 1 0 0,1 0-1 0 0,0 0 0 0 0,0 0 0 0 0,0 0 0 0 0,0 0 1 0 0,0 0-1 0 0,0 0 0 0 0,0 0 0 0 0,0 0 0 0 0,-1-1 1 0 0,1 1-1 0 0,0 0 0 0 0,0 0 0 0 0,0 0 0 0 0,0 0 0 0 0,0 0 1 0 0,0 0-1 0 0,0 0 0 0 0,0-1 0 0 0,0 1 0 0 0,0 0 1 0 0,0 0-1 0 0,0 0 0 0 0,0 0 0 0 0,0 0 0 0 0,0-1 0 0 0,0 0-16 0 0,0-1 0 0 0,0 0 0 0 0,1 0 0 0 0,-1 0 0 0 0,1 0 0 0 0,-1 1 0 0 0,1-1 0 0 0,0 0 0 0 0,0 1 0 0 0,1-3-1 0 0,19-26-136 0 0,2 1-1 0 0,48-48 1 0 0,-66 72 153 0 0,424-421 8 0 0,-292 303 62 0 0,193-132-1 0 0,-326 252-69 0 0,25-17-73 0 0,43-22 0 0 0,-72 41 69 0 0,0 1 0 0 0,0 0 1 0 0,0 0-1 0 0,0 0 0 0 0,1-1 0 0 0,-1 1 1 0 0,0 0-1 0 0,0 0 0 0 0,0 0 0 0 0,0 0 0 0 0,1-1 1 0 0,-1 1-1 0 0,0 0 0 0 0,0 0 0 0 0,0 0 1 0 0,1 0-1 0 0,-1 0 0 0 0,0 0 0 0 0,0 0 0 0 0,1 0 1 0 0,-1 0-1 0 0,0 0 0 0 0,0 0 0 0 0,1 0 1 0 0,-1 0-1 0 0,0 0 0 0 0,0 0 0 0 0,1 0 1 0 0,-1 0-1 0 0,0 0 0 0 0,0 0 0 0 0,1 0 0 0 0,-1 0 1 0 0,0 0-1 0 0,0 0 0 0 0,0 0 0 0 0,1 1 1 0 0,-1-1-1 0 0,0 0 0 0 0,0 0 0 0 0,0 0 1 0 0,1 0-1 0 0,-1 0 0 0 0,0 1 0 0 0,0-1 0 0 0,0 0 1 0 0,0 0-1 0 0,0 0 0 0 0,0 1 0 0 0,1-1 1 0 0,-1 0-1 0 0,0 2-21 0 0,0 0 1 0 0,0 0 0 0 0,0 0-1 0 0,0 0 1 0 0,0-1 0 0 0,0 1-1 0 0,-1 0 1 0 0,1 0 0 0 0,-1 0-1 0 0,1-1 1 0 0,-1 1 0 0 0,0 0-1 0 0,-1 2 1 0 0,-4 6 36 0 0,0 1-1 0 0,0-1 1 0 0,-1 0-1 0 0,-12 11 1 0 0,-41 41 160 0 0,46-48-144 0 0,-150 147 230 0 0,-429 426 1239 0 0,565-560-1470 0 0,16-16-18 0 0,0 2 0 0 0,-18 22 0 0 0,38-47-88 0 0,2 1-1 0 0,-1-1 0 0 0,1 2 1 0 0,17-14-1 0 0,3-4-20 0 0,307-282 77 0 0,21 26 104 0 0,-186 169-136 0 0,-158 106 10 0 0,-9 6-15 0 0,0 0 0 0 0,1 0-1 0 0,-1 0 1 0 0,1 0 0 0 0,-1 1-1 0 0,1 0 1 0 0,10-2 0 0 0,-18 10-398 0 0,-14 15 471 0 0,-1-1 0 0 0,-1 0-1 0 0,0-2 1 0 0,-2 0 0 0 0,-21 15 0 0 0,-9 9 29 0 0,-638 607 951 0 0,545-510-607 0 0,123-121-331 0 0,17-16-60 0 0,3-4-19 0 0,28-31-231 0 0,195-179 45 0 0,-156 153 209 0 0,143-123 162 0 0,272-181 0 0 0,-463 350-177 0 0,15-10-73 0 0,0 1 0 0 0,1 1 1 0 0,63-25-1 0 0,-98 45 79 0 0,1 1 0 0 0,-1 0 0 0 0,1-1 0 0 0,0 1 0 0 0,-1 0 0 0 0,1 0 0 0 0,0 0 0 0 0,-1-1 0 0 0,1 1 0 0 0,-1 0 0 0 0,1 0 0 0 0,0 0 1 0 0,-1 0-1 0 0,1 0 0 0 0,0 0 0 0 0,-1 0 0 0 0,1 1 0 0 0,0-1 0 0 0,-1 0 0 0 0,2 0 0 0 0,-2 1 4 0 0,0 0-1 0 0,0 0 1 0 0,0-1 0 0 0,0 1 0 0 0,0 0-1 0 0,0-1 1 0 0,0 1 0 0 0,0 0 0 0 0,-1-1-1 0 0,1 1 1 0 0,0 0 0 0 0,0-1 0 0 0,-1 1-1 0 0,1 0 1 0 0,0-1 0 0 0,-1 1 0 0 0,1-1-1 0 0,0 1 1 0 0,-1 0 0 0 0,1-1 0 0 0,-2 1-1 0 0,-16 21 111 0 0,-1-2 0 0 0,-38 31 0 0 0,43-39-75 0 0,-787 734 804 0 0,658-603-739 0 0,117-114-149 0 0,41-45-197 0 0,1 1 0 0 0,20-15 0 0 0,-6 6 113 0 0,19-17 88 0 0,419-335-47 0 0,23 35 272 0 0,-484 337-177 0 0,119-67-150 0 0,-111 66 91 0 0,-10 6-1 0 0,-7 6-116 0 0,-9 6 215 0 0,1 1-1 0 0,-2-2 0 0 0,-22 21 0 0 0,-49 32 86 0 0,42-34-94 0 0,-317 249 646 0 0,14 15 46 0 0,313-264-662 0 0,92-81-613 0 0,524-401 668 0 0,-416 334-82 0 0,291-152 1 0 0,-359 223-315 0 0,-101 46 282 0 0,0 0 0 0 0,0 0-1 0 0,0 0 1 0 0,0 1 0 0 0,0-1 0 0 0,0 0 0 0 0,0 0 0 0 0,0 0-1 0 0,0 0 1 0 0,0 0 0 0 0,0 0 0 0 0,0 1 0 0 0,0-1 0 0 0,0 0-1 0 0,0 0 1 0 0,0 0 0 0 0,0 0 0 0 0,0 0 0 0 0,0 0-1 0 0,0 1 1 0 0,0-1 0 0 0,0 0 0 0 0,0 0 0 0 0,1 0 0 0 0,-1 0-1 0 0,0 0 1 0 0,0 0 0 0 0,0 0 0 0 0,0 1 0 0 0,0-1 0 0 0,0 0-1 0 0,0 0 1 0 0,0 0 0 0 0,0 0 0 0 0,1 0 0 0 0,-1 0 0 0 0,0 0-1 0 0,0 0 1 0 0,0 0 0 0 0,0 0 0 0 0,0 0 0 0 0,0 0 0 0 0,0 0-1 0 0,1 0 1 0 0,-1 0 0 0 0,0 0 0 0 0,0 0 0 0 0,0 0-1 0 0,0 0 1 0 0,0 0 0 0 0,0 0 0 0 0,1 0 0 0 0,-1 0 0 0 0,0 0-1 0 0,0 0 1 0 0,0 0 0 0 0,0 0 0 0 0,0 0 0 0 0,0 0 0 0 0,0 0-1 0 0,1 0 1 0 0,-1 0 0 0 0,0 0 0 0 0,0 0 0 0 0,0-1 0 0 0,-7 11 1 0 0,-21 16 129 0 0,0-2 0 0 0,-51 33 0 0 0,7-6-70 0 0,-538 457 451 0 0,423-344-547 0 0,168-149 47 0 0,22-18-121 0 0,32-28-179 0 0,256-187 21 0 0,17 13 376 0 0,-78 59-81 0 0,6 19-109 0 0,-235 126 42 0 0,-2 4 20 0 0,-8 5 17 0 0,-20 16 46 0 0,-131 89 103 0 0,-208 156 245 0 0,-6 51-196 0 0,341-286-184 0 0,90-82-539 0 0,555-391 475 0 0,-608 437 58 0 0,183-117 52 0 0,0 19-158 0 0,-164 91-147 0 0,-20 8 134 0 0,-4 6 34 0 0,1-1 82 0 0,-1-1 1 0 0,-1 1-1 0 0,1-1 1 0 0,0 0-1 0 0,-1 1 1 0 0,0-1-1 0 0,0 0 0 0 0,0 0 1 0 0,-4 5-1 0 0,-29 25 132 0 0,23-23-101 0 0,-211 179 161 0 0,-15 12 191 0 0,185-156-354 0 0,21-18-30 0 0,-47 49 0 0 0,76-71 24 0 0,7-5-1 0 0,1-2-28 0 0,1 0 0 0 0,-1 0 0 0 0,0-1 0 0 0,8-4 0 0 0,171-106-259 0 0,-26 15 263 0 0,-50 33-14 0 0,311-175-275 0 0,-315 192-954 0 0,-104 48 1236 0 0,0 0 1 0 0,0 1 0 0 0,0-1 0 0 0,0 0 0 0 0,0 0 0 0 0,0 0 0 0 0,0 0 0 0 0,0 0 0 0 0,0 0-1 0 0,0 0 1 0 0,0 0 0 0 0,0 1 0 0 0,0-1 0 0 0,0 0 0 0 0,0 0 0 0 0,0 0 0 0 0,0 0-1 0 0,0 0 1 0 0,0 0 0 0 0,0 0 0 0 0,0 0 0 0 0,0 1 0 0 0,0-1 0 0 0,0 0 0 0 0,0 0-1 0 0,0 0 1 0 0,0 0 0 0 0,0 0 0 0 0,0 0 0 0 0,0 0 0 0 0,0 0 0 0 0,0 1 0 0 0,0-1-10 0 0,0 0 10 0 0,1 0 0 0 0,-1 0 0 0 0,0 0 0 0 0,0 0 0 0 0,0 0 0 0 0,0 0-1 0 0,0 0 1 0 0,0 0 0 0 0,0 0 0 0 0,0 0 0 0 0,1 0 0 0 0,-1 0 0 0 0,0 0 0 0 0,0 0-1 0 0,0 0 1 0 0,0 0 0 0 0,0 0 0 0 0,0 0 0 0 0,0 0 0 0 0,0 0 0 0 0,1 0 0 0 0,-1 0-1 0 0,0 0 1 0 0,-9 11 14 0 0,-34 19 451 0 0,-47 27 0 0 0,14-11-85 0 0,-40 32 507 0 0,-169 148 0 0 0,278-220-883 0 0,-9 8 2 0 0,-22 26 0 0 0,37-40 0 0 0,1 0-1 0 0,0 0 1 0 0,0 0 0 0 0,0 1 0 0 0,0-1-1 0 0,0 0 1 0 0,-1 0 0 0 0,1 0-1 0 0,0 0 1 0 0,0 0 0 0 0,0 0-1 0 0,0 0 1 0 0,0 0 0 0 0,0 0-1 0 0,-1 0 1 0 0,1 1 0 0 0,0-1-1 0 0,0 0 1 0 0,0 0 0 0 0,0 0-1 0 0,0 0 1 0 0,0 0 0 0 0,0 1 0 0 0,0-1-1 0 0,0 0 1 0 0,0 0 0 0 0,0 0-1 0 0,-1 0 1 0 0,1 0 0 0 0,0 1-1 0 0,0-1 1 0 0,0 0 0 0 0,0 0-1 0 0,0 0 1 0 0,0 0 0 0 0,0 1-1 0 0,1-1 1 0 0,-1 0 0 0 0,0 0 0 0 0,0 0-1 0 0,0 0 1 0 0,0 1 0 0 0,0-1-1 0 0,0 0 1 0 0,0 0 0 0 0,0 0-1 0 0,0 0 1 0 0,0 0 0 0 0,0 0-1 0 0,0 1 1 0 0,1-1 0 0 0,-1 0-1 0 0,13-5-348 0 0,140-81-465 0 0,-96 51 831 0 0,214-140 140 0 0,7-4-233 0 0,-260 168-74 0 0,-10 6-55 0 0,-1 1 0 0 0,16-7 0 0 0,-21 11 79 0 0,-5 5 42 0 0,-5 4 132 0 0,0 1 0 0 0,0-1 0 0 0,-1 0 0 0 0,0-1 0 0 0,-1 0 0 0 0,-11 8 0 0 0,9-8 3 0 0,-586 455 1062 0 0,18 21-1017 0 0,198-145-85 0 0,360-319-34 0 0,-99 86-11 0 0,92-83-220 0 0,-1-1-1 0 0,-39 21 1 0 0,65-41 185 0 0,1 0 0 0 0,-1 0 0 0 0,0 0 0 0 0,0-1 0 0 0,0 0 0 0 0,0 1 0 0 0,0-1 0 0 0,0-1 0 0 0,0 1 0 0 0,-5 0 0 0 0,9-1 63 0 0,0 0 1 0 0,0 0-1 0 0,-1 0 1 0 0,1 0-1 0 0,0 0 1 0 0,0 0-1 0 0,-1 0 1 0 0,1 0-1 0 0,0 0 1 0 0,0 0 0 0 0,-1 0-1 0 0,1 0 1 0 0,0 0-1 0 0,0 0 1 0 0,0 0-1 0 0,-1 0 1 0 0,1-1-1 0 0,0 1 1 0 0,0 0-1 0 0,-1 0 1 0 0,1 0-1 0 0,0 0 1 0 0,0 0-1 0 0,0-1 1 0 0,0 1-1 0 0,-1 0 1 0 0,1 0 0 0 0,0 0-1 0 0,0-1 1 0 0,0 1-1 0 0,0 0 1 0 0,0 0-1 0 0,0 0 1 0 0,-1-1-1 0 0,1 1 1 0 0,0 0-1 0 0,0 0 1 0 0,0-1-1 0 0,0 1 1 0 0,-2-20-286 0 0,1 1 1 0 0,1 0-1 0 0,4-36 1 0 0,-3 44 276 0 0,1 0 0 0 0,1 1 0 0 0,0-1 0 0 0,0 1 0 0 0,1 0 0 0 0,0 0 0 0 0,1 0 0 0 0,8-11 0 0 0,4-5-92 0 0,34-38 0 0 0,-44 58-64 0 0,-5 5 87 0 0,-3 7-4 0 0,-12 14 261 0 0,-1-1 0 0 0,-1-1 0 0 0,0 0 0 0 0,-35 31 0 0 0,10-10-87 0 0,13-11-2 0 0,-96 96 413 0 0,86-90-251 0 0,-57 41-1 0 0,77-65-123 0 0,17-10-120 0 0,0 0 0 0 0,0 0-1 0 0,0 0 1 0 0,0 0 0 0 0,0 0-1 0 0,1 0 1 0 0,-1 0 0 0 0,0-1 0 0 0,0 1-1 0 0,0 0 1 0 0,0 0 0 0 0,0 0-1 0 0,0 0 1 0 0,0 0 0 0 0,-1 0-1 0 0,1 0 1 0 0,0 0 0 0 0,0 0-1 0 0,0 0 1 0 0,0 0 0 0 0,0-1-1 0 0,0 1 1 0 0,0 0 0 0 0,0 0 0 0 0,0 0-1 0 0,0 0 1 0 0,0 0 0 0 0,0 0-1 0 0,0 0 1 0 0,0 0 0 0 0,0 0-1 0 0,0 0 1 0 0,0 0 0 0 0,0 0-1 0 0,0 0 1 0 0,-1 0 0 0 0,1 0 0 0 0,0 0-1 0 0,0-1 1 0 0,0 1 0 0 0,0 0-1 0 0,0 0 1 0 0,0 0 0 0 0,0 0-1 0 0,0 0 1 0 0,0 0 0 0 0,0 0-1 0 0,-1 0 1 0 0,1 0 0 0 0,0 0-1 0 0,0 0 1 0 0,0 0 0 0 0,0 0 0 0 0,0 0-1 0 0,0 1 1 0 0,0-1 0 0 0,0 0-1 0 0,0 0 1 0 0,-1 0 0 0 0,2-7-92 0 0,-1 0 1 0 0,1 0 0 0 0,1 1-1 0 0,-1-1 1 0 0,1 0 0 0 0,0 1 0 0 0,0 0-1 0 0,1-1 1 0 0,4-6 0 0 0,5-8-93 0 0,20-25 0 0 0,-27 39 160 0 0,68-90-141 0 0,3 4-1 0 0,143-133 1 0 0,-203 211-129 0 0,1 1 1 0 0,0 0-1 0 0,32-17 1 0 0,-63 53 488 0 0,-14 5 361 0 0,-45 34 1 0 0,11-10-267 0 0,-163 171 1055 0 0,-4 3-1015 0 0,211-209-303 0 0,-1-1-1 0 0,-1-1 0 0 0,0-1 0 0 0,-24 12 0 0 0,34-20-75 0 0,1-1 0 0 0,-1 0 0 0 0,-1-1 0 0 0,1 0 0 0 0,0 0-1 0 0,-1-1 1 0 0,1-1 0 0 0,-1 1 0 0 0,0-2 0 0 0,1 0 0 0 0,-19-1 0 0 0,25 0 34 0 0,1 0 1 0 0,-1-1 0 0 0,1 1 0 0 0,0-1-1 0 0,0 1 1 0 0,0-1 0 0 0,0 0 0 0 0,0 0-1 0 0,0 0 1 0 0,1 0 0 0 0,-1-1-1 0 0,0 1 1 0 0,1-1 0 0 0,0 0 0 0 0,0 1-1 0 0,0-1 1 0 0,0 0 0 0 0,0 0 0 0 0,0-1-1 0 0,1 1 1 0 0,-3-7 0 0 0,0-3-57 0 0,0 0 0 0 0,0-1-1 0 0,1 1 1 0 0,-1-19 0 0 0,-2-214-488 0 0,8 149 443 0 0,-5 93 45 0 0,-5 7 137 0 0,7-3-50 0 0,-18 9 138 0 0,1 0 0 0 0,1 2 0 0 0,-21 15 0 0 0,-53 46-171 0 0,58-45 53 0 0,-316 290 1337 0 0,257-228-1236 0 0,86-83-122 0 0,5-5-11 0 0,-1 1 1 0 0,1-1-1 0 0,-1 1 0 0 0,0-1 0 0 0,1 1 1 0 0,-1-1-1 0 0,0 0 0 0 0,0 0 0 0 0,0 0 1 0 0,0 0-1 0 0,-3 1 0 0 0,4-7-236 0 0,0-7-30 0 0,1 3 109 0 0,0 0 1 0 0,0 0 0 0 0,1 0-1 0 0,0 0 1 0 0,3-12 0 0 0,4 2 65 0 0,1 0-1 0 0,0 0 1 0 0,19-26 0 0 0,-8 14 51 0 0,18-34-46 0 0,4 2-1 0 0,57-65 0 0 0,-95 124 79 0 0,167-176-69 0 0,-141 156-143 0 0,-30 24 200 0 0,10-4-311 0 0,-8 6 88 0 0,-3 6-129 0 0,-3 1 426 0 0,-1 1 0 0 0,0-1 1 0 0,0-1-1 0 0,-1 1 0 0 0,-12 14 0 0 0,-43 39 249 0 0,31-34-211 0 0,-437 429 2546 0 0,462-453-2636 0 0,2 0 3 0 0,0-1 1 0 0,-1 1-1 0 0,1-1 0 0 0,-1 0 0 0 0,0 0 0 0 0,0 0 1 0 0,0-1-1 0 0,-1 1 0 0 0,-8 2 0 0 0,13-4-11 0 0,0-1 0 0 0,-1 0-1 0 0,1 0 1 0 0,-1 0 0 0 0,1 0-1 0 0,-1 1 1 0 0,1-1 0 0 0,-1 0-1 0 0,1 0 1 0 0,0 0 0 0 0,-1 0-1 0 0,1 0 1 0 0,-1 0 0 0 0,1 0-1 0 0,-1 0 1 0 0,1-1-1 0 0,-1 1 1 0 0,1 0 0 0 0,0 0-1 0 0,-1 0 1 0 0,1 0 0 0 0,-1-1-1 0 0,1 1 1 0 0,-1 0 0 0 0,1 0-1 0 0,0-1 1 0 0,-1 1 0 0 0,1 0-1 0 0,0-1 1 0 0,-1 1 0 0 0,1 0-1 0 0,0-1 1 0 0,0 1 0 0 0,-1-1-1 0 0,-2-20-248 0 0,2-180-1445 0 0,1 106 1562 0 0,12-192-548 0 0,0 0-909 0 0,-12 284 1535 0 0,0 0 0 0 0,0 1 1 0 0,0-1-1 0 0,0 0 0 0 0,0 0 0 0 0,-1 1 1 0 0,1-1-1 0 0,-1 0 0 0 0,0 0 1 0 0,0 1-1 0 0,0-1 0 0 0,0 1 0 0 0,-1-1 1 0 0,1 1-1 0 0,-3-4 0 0 0,3 5 50 0 0,-1 0 0 0 0,1 0 0 0 0,-1 0 0 0 0,0 1 0 0 0,1-1-1 0 0,-1 0 1 0 0,0 1 0 0 0,1-1 0 0 0,-1 1 0 0 0,0 0 0 0 0,0-1 0 0 0,0 1-1 0 0,1 0 1 0 0,-1 0 0 0 0,0 0 0 0 0,0 0 0 0 0,0 1 0 0 0,1-1 0 0 0,-1 0-1 0 0,0 1 1 0 0,0-1 0 0 0,1 1 0 0 0,-1 0 0 0 0,0-1 0 0 0,-1 2 0 0 0,-8 4 190 0 0,1 1 0 0 0,-1 0 1 0 0,1 0-1 0 0,1 1 0 0 0,0 0 1 0 0,0 0-1 0 0,-12 15 1 0 0,9-10-116 0 0,-52 56 559 0 0,4 3 0 0 0,2 3 0 0 0,4 3 0 0 0,-68 126 0 0 0,120-200-622 0 0,-1 2 5 0 0,-1 1 0 0 0,1 0 0 0 0,0-1 0 0 0,1 1 0 0 0,0 0 0 0 0,0 0 0 0 0,0 0 0 0 0,-1 9-1 0 0,6-20-282 0 0,14-26-490 0 0,38-53 0 0 0,-16 28 702 0 0,191-264-33 0 0,-183 262 63 0 0,3 1 0 0 0,2 3-1 0 0,74-60 1 0 0,-114 104-61 0 0,-7 5-4 0 0,-1 1 1 0 0,1-1 0 0 0,-1 1 0 0 0,1 0 0 0 0,0 0 0 0 0,0 1-1 0 0,0-1 1 0 0,6-1 0 0 0,-8 4-102 0 0,-2 6 53 0 0,-2 2 187 0 0,1 1-1 0 0,-2-1 0 0 0,1 0 1 0 0,-1 1-1 0 0,0-1 0 0 0,-1 0 0 0 0,0 0 1 0 0,-4 8-1 0 0,-38 62 693 0 0,36-64-688 0 0,-30 49 156 0 0,-122 199 1327 0 0,114-177-1113 0 0,-41 104 1 0 0,83-177-404 0 0,1 0 1 0 0,1 0-1 0 0,-4 21 0 0 0,23-45-1346 0 0,6-10 852 0 0,143-134-345 0 0,-133 130 877 0 0,1 0-1 0 0,1 2 0 0 0,57-30 0 0 0,-80 49-70 0 0,0 0 0 0 0,0 0 0 0 0,0 1 0 0 0,1 1-1 0 0,0 0 1 0 0,-1 0 0 0 0,1 2 0 0 0,0-1 0 0 0,21 1 0 0 0,-32 1 21 0 0,1 0 1 0 0,0 0 0 0 0,0 0-1 0 0,0 1 1 0 0,0-1 0 0 0,0 1-1 0 0,-1-1 1 0 0,1 1-1 0 0,0 0 1 0 0,0-1 0 0 0,-1 1-1 0 0,1 0 1 0 0,-1 0 0 0 0,1 0-1 0 0,-1 0 1 0 0,1 0-1 0 0,-1 1 1 0 0,1-1 0 0 0,-1 0-1 0 0,0 1 1 0 0,0-1 0 0 0,0 1-1 0 0,0-1 1 0 0,0 1 0 0 0,0 0-1 0 0,0-1 1 0 0,0 1-1 0 0,-1 0 1 0 0,1 0 0 0 0,-1-1-1 0 0,1 1 1 0 0,0 2 0 0 0,0 8 142 0 0,1-1 1 0 0,-2 1 0 0 0,1 0 0 0 0,-3 14 0 0 0,1-2 133 0 0,2-2-69 0 0,0 17-43 0 0,-1-36-172 0 0,0-1 0 0 0,0 1 0 0 0,0 0-1 0 0,-1-1 1 0 0,0 1 0 0 0,1-1 0 0 0,-1 1 0 0 0,0-1-1 0 0,0 1 1 0 0,-3 3 0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4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05.192"/>
    </inkml:context>
    <inkml:brush xml:id="br0">
      <inkml:brushProperty name="width" value="0.35" units="cm"/>
      <inkml:brushProperty name="height" value="0.35" units="cm"/>
    </inkml:brush>
  </inkml:definitions>
  <inkml:trace contextRef="#ctx0" brushRef="#br0">1458 859 7347 0 0,'0'0'2943'0'0,"12"-17"-2471"0"0,36-53 451 0 0,-39 43 2208 0 0,-10 27-3097 0 0,-5 1 91 0 0,-6-1-54 0 0,1 1 0 0 0,-1 1 0 0 0,1 0 1 0 0,-1 0-1 0 0,-10 5 0 0 0,-58 24 102 0 0,30-11-66 0 0,23-9-72 0 0,17-6-4 0 0,-1-1 0 0 0,0 0 0 0 0,0 0 1 0 0,0-1-1 0 0,0-1 0 0 0,-19 2 0 0 0,30-4-33 0 0,-1 0 0 0 0,0 0 0 0 0,1 0-1 0 0,-1 0 1 0 0,0 0 0 0 0,1-1 0 0 0,-1 1-1 0 0,1 0 1 0 0,-1 0 0 0 0,0-1 0 0 0,1 1-1 0 0,-1 0 1 0 0,1-1 0 0 0,-1 1 0 0 0,1 0 0 0 0,-1-1-1 0 0,1 1 1 0 0,-1-1 0 0 0,1 1 0 0 0,-1-1-1 0 0,1 1 1 0 0,0-1 0 0 0,-1 0 0 0 0,1 1-1 0 0,0-1 1 0 0,-1 1 0 0 0,1-1 0 0 0,0 0 0 0 0,0 1-1 0 0,0-1 1 0 0,0 0 0 0 0,0 1 0 0 0,-1-2-1 0 0,2-29-160 0 0,-1 16 109 0 0,0 2 42 0 0,0 0 0 0 0,1-1 0 0 0,0 1 0 0 0,1 0 0 0 0,1 0 0 0 0,0 1 0 0 0,7-19 0 0 0,-5 16 33 0 0,0 0 0 0 0,0 0 0 0 0,-1 0 0 0 0,-1 0 0 0 0,-1-1 0 0 0,0 1 0 0 0,-1-1 0 0 0,-1-26 0 0 0,0 42-21 0 0,0-1-1 0 0,0 1 1 0 0,0-1-1 0 0,0 1 0 0 0,0-1 1 0 0,0 1-1 0 0,-1-1 1 0 0,1 1-1 0 0,0-1 1 0 0,0 1-1 0 0,-1-1 0 0 0,1 1 1 0 0,0-1-1 0 0,0 1 1 0 0,-1-1-1 0 0,1 1 1 0 0,0 0-1 0 0,-1-1 0 0 0,1 1 1 0 0,-1-1-1 0 0,1 1 1 0 0,-1 0-1 0 0,1 0 1 0 0,-1-1-1 0 0,1 1 0 0 0,-1 0 1 0 0,0 0-1 0 0,-15-1-42 0 0,8 1 17 0 0,-5 0-2 0 0,0 2 1 0 0,-1 0-1 0 0,1 0 1 0 0,0 1-1 0 0,0 0 1 0 0,-17 8-1 0 0,-76 39 109 0 0,45-20-73 0 0,-58 27 123 0 0,117-56-120 0 0,1-1 7 0 0,-1 1-1 0 0,0 0 1 0 0,1-1 0 0 0,-1 1-1 0 0,0-1 1 0 0,0 0 0 0 0,1 1 0 0 0,-5-1-1 0 0,6-11 37 0 0,1-1-50 0 0,1 0 1 0 0,0 0-1 0 0,1 1 1 0 0,0 0 0 0 0,0-1-1 0 0,2 1 1 0 0,-1 0-1 0 0,11-17 1 0 0,-8 16 19 0 0,-2 1 0 0 0,1-1 0 0 0,-1-1-1 0 0,-1 1 1 0 0,0-1 0 0 0,-1 0 0 0 0,2-15 0 0 0,-4 22-12 0 0,0-13 47 0 0,-2 18-59 0 0,1 1-1 0 0,0-1 1 0 0,0 1 0 0 0,0-1 0 0 0,0 1 0 0 0,-1-1 0 0 0,1 1 0 0 0,0-1 0 0 0,0 1 0 0 0,-1-1 0 0 0,1 1 0 0 0,0-1 0 0 0,-1 1 0 0 0,1 0 0 0 0,0-1 0 0 0,-1 1 0 0 0,1 0 0 0 0,-1-1 0 0 0,1 1 0 0 0,0 0 0 0 0,-1 0 0 0 0,1-1 0 0 0,-1 1 0 0 0,1 0-1 0 0,-1 0 1 0 0,1 0 0 0 0,-1-1 0 0 0,1 1 0 0 0,-1 0 0 0 0,1 0 0 0 0,-1 0 0 0 0,1 0 0 0 0,-2 0 0 0 0,-12 1-41 0 0,0 0-1 0 0,0 1 1 0 0,1 1-1 0 0,-1 0 1 0 0,0 1 0 0 0,-21 9-1 0 0,-80 43 143 0 0,85-40-115 0 0,-18 12 29 0 0,30-17 6 0 0,0-1 1 0 0,0-1 0 0 0,-1 0-1 0 0,-39 12 1 0 0,57-21-19 0 0,1-1 0 0 0,-1 1 0 0 0,1 0 0 0 0,0 0-1 0 0,-1-1 1 0 0,1 1 0 0 0,0 0 0 0 0,-1 0 0 0 0,1-1 0 0 0,0 1 0 0 0,0 0 0 0 0,-1-1-1 0 0,1 1 1 0 0,0-1 0 0 0,0 1 0 0 0,-1 0 0 0 0,1-1 0 0 0,0 1 0 0 0,0-1 0 0 0,0 1-1 0 0,0 0 1 0 0,0-1 0 0 0,0 1 0 0 0,-1-1 0 0 0,1 1 0 0 0,0-1 0 0 0,0 1 0 0 0,0-1-1 0 0,1 1 1 0 0,-1 0 0 0 0,0-1 0 0 0,0 1 0 0 0,0-1 0 0 0,0 1 0 0 0,0-1 0 0 0,3-19-128 0 0,3 8 134 0 0,0 0-1 0 0,0 0 1 0 0,1 1 0 0 0,0-1 0 0 0,1 1 0 0 0,10-10 0 0 0,12-18 118 0 0,-29 37-120 0 0,4-4 10 0 0,-1 1-1 0 0,1-2 1 0 0,-1 1-1 0 0,-1 0 1 0 0,1-1-1 0 0,-1 0 1 0 0,-1 0-1 0 0,1 0 1 0 0,-1 0-1 0 0,0 0 1 0 0,-1 0-1 0 0,2-9 1 0 0,-4 15-19 0 0,1 1 1 0 0,0-1 0 0 0,-1 1 0 0 0,1 0-1 0 0,-1-1 1 0 0,1 1 0 0 0,0 0 0 0 0,-1-1 0 0 0,1 1-1 0 0,-1 0 1 0 0,1-1 0 0 0,-1 1 0 0 0,1 0-1 0 0,-1 0 1 0 0,1 0 0 0 0,-1 0 0 0 0,1-1-1 0 0,-1 1 1 0 0,1 0 0 0 0,-1 0 0 0 0,1 0 0 0 0,-1 0-1 0 0,1 0 1 0 0,-1 0 0 0 0,1 0 0 0 0,-1 0-1 0 0,1 1 1 0 0,-1-1 0 0 0,0 0 0 0 0,0 0 0 0 0,-3 0-12 0 0,-9 1 13 0 0,1 1 1 0 0,-1 0-1 0 0,1 0 1 0 0,-1 1-1 0 0,1 1 1 0 0,0 0-1 0 0,-18 9 1 0 0,-79 47 94 0 0,106-58-95 0 0,-10 8 18 0 0,10-8-14 0 0,0 0 0 0 0,0 0-1 0 0,0 0 1 0 0,-1 0 0 0 0,1 0 0 0 0,0 0 0 0 0,-1-1 0 0 0,-5 2 0 0 0,19-13-388 0 0,46-38 201 0 0,-13 12 427 0 0,65-70-1 0 0,-104 102-227 0 0,-3 2-8 0 0,1 1-1 0 0,-1-1 0 0 0,0 1 1 0 0,1-1-1 0 0,-1 1 1 0 0,0-1-1 0 0,0 0 1 0 0,0 0-1 0 0,0 1 0 0 0,-1-1 1 0 0,1 0-1 0 0,0 0 1 0 0,0-2-1 0 0,-8 5-95 0 0,-6 2 59 0 0,-1 1-1 0 0,0 1 1 0 0,1 0 0 0 0,-17 10 0 0 0,-54 34 81 0 0,63-36-35 0 0,-26 15 35 0 0,-57 47 0 0 0,101-72-67 0 0,2-3 8 0 0,0 0 0 0 0,1 1 0 0 0,-1-1-1 0 0,1 1 1 0 0,-1-1 0 0 0,1 1 0 0 0,-1-1 0 0 0,1 1 0 0 0,-1-1 0 0 0,1 1 0 0 0,0-1 0 0 0,-1 1 0 0 0,1-1 0 0 0,0 1-1 0 0,-1 0 1 0 0,1-1 0 0 0,0 1 0 0 0,0 0 0 0 0,-1-1 0 0 0,1 1 0 0 0,0 1 0 0 0,5-2-316 0 0,9-1 276 0 0,0-1 0 0 0,0 0 0 0 0,0 0 0 0 0,0-2 0 0 0,-1 0 0 0 0,1 0 0 0 0,20-11 0 0 0,89-53 279 0 0,-120 66-221 0 0,11-6 25 0 0,-6 4-30 0 0,0-1 1 0 0,-1 1-1 0 0,0-1 1 0 0,0-1-1 0 0,0 1 1 0 0,-1-1-1 0 0,10-11 1 0 0,-15 17-8 0 0,-1 0 0 0 0,0 0 1 0 0,0 0-1 0 0,0-1 0 0 0,0 1 1 0 0,1 0-1 0 0,-1 0 0 0 0,0 0 1 0 0,0-1-1 0 0,0 1 0 0 0,0 0 1 0 0,0 0-1 0 0,1 0 0 0 0,-1-1 1 0 0,0 1-1 0 0,0 0 0 0 0,0 0 1 0 0,0-1-1 0 0,0 1 0 0 0,0 0 1 0 0,0 0-1 0 0,0-1 0 0 0,0 1 1 0 0,0 0-1 0 0,0 0 0 0 0,0 0 1 0 0,0-1-1 0 0,0 1 0 0 0,0 0 1 0 0,0 0-1 0 0,0-1 0 0 0,0 1 1 0 0,0 0-1 0 0,-1 0 0 0 0,1-1 1 0 0,0 1-1 0 0,0 0 0 0 0,0 0 1 0 0,0 0-1 0 0,0-1 0 0 0,-1 1 1 0 0,1 0-1 0 0,0 0 0 0 0,0 0 1 0 0,0 0-1 0 0,0 0 0 0 0,-1-1 1 0 0,1 1-1 0 0,0 0 0 0 0,0 0 1 0 0,-1 0-1 0 0,1 0 0 0 0,0 0 1 0 0,0 0-1 0 0,0 0 0 0 0,-1 0 1 0 0,1 0-1 0 0,-19 1-125 0 0,14-1 99 0 0,-18 4-49 0 0,-1 1 1 0 0,1 1-1 0 0,0 1 1 0 0,-23 10-1 0 0,-92 48 75 0 0,51-23 35 0 0,36-18 76 0 0,49-23-22 0 0,11-6-486 0 0,138-74 412 0 0,123-57 317 0 0,-253 130-438 0 0,-28 22-72 0 0,-69 53 468 0 0,16-15-146 0 0,41-36-100 0 0,18-14-22 0 0,-1 0 1 0 0,1 0 0 0 0,0 1-1 0 0,0-1 1 0 0,1 1 0 0 0,0 0-1 0 0,-1 0 1 0 0,-3 8 0 0 0,7-12-38 0 0,1-1 13 0 0,0 0 0 0 0,0 0-1 0 0,0 0 1 0 0,0 0 0 0 0,0 0 0 0 0,0 0-1 0 0,-1 0 1 0 0,1 1 0 0 0,0-1 0 0 0,0 0-1 0 0,0 0 1 0 0,0 0 0 0 0,0 0 0 0 0,0 0-1 0 0,0 0 1 0 0,0 1 0 0 0,0-1 0 0 0,0 0-1 0 0,0 0 1 0 0,0 0 0 0 0,0 0 0 0 0,0 0-1 0 0,0 1 1 0 0,0-1 0 0 0,0 0 0 0 0,0 0-1 0 0,0 0 1 0 0,0 0 0 0 0,0 0 0 0 0,0 1-1 0 0,0-1 1 0 0,0 0 0 0 0,0 0 0 0 0,0 0-1 0 0,0 0 1 0 0,0 0 0 0 0,0 1 0 0 0,0-1-1 0 0,0 0 1 0 0,0 0 0 0 0,1 0 0 0 0,-1 0-1 0 0,0 0 1 0 0,0 0 0 0 0,0 0 0 0 0,0 0 0 0 0,0 1-1 0 0,0-1 1 0 0,1 0 0 0 0,-1 0 0 0 0,0 0-1 0 0,0 0 1 0 0,0 0 0 0 0,0 0 0 0 0,0 0-1 0 0,1 0 1 0 0,-1 0 0 0 0,0 0 0 0 0,0 0-1 0 0,0 0 1 0 0,0 0 0 0 0,0 0 0 0 0,1 0-1 0 0,-1 0 1 0 0,0 0 0 0 0,0 0 0 0 0,0 0-1 0 0,0 0 1 0 0,1 0 0 0 0,12-4-29 0 0,0 0 1 0 0,0-1-1 0 0,0 0 1 0 0,0-1-1 0 0,-1 0 0 0 0,21-15 1 0 0,-9 7 60 0 0,354-238 628 0 0,-311 204-554 0 0,-59 43-94 0 0,-7 4-12 0 0,0 0-1 0 0,0 1 0 0 0,1-1 0 0 0,-1 0 1 0 0,0 0-1 0 0,0 0 0 0 0,0 0 0 0 0,0 0 1 0 0,0 0-1 0 0,1-2 0 0 0,-1 2-76 0 0,-4 3-32 0 0,-105 80 154 0 0,17-14 31 0 0,74-55-78 0 0,1-1 31 0 0,-17 18 1 0 0,29-27-25 0 0,2 0 0 0 0,-1 0 0 0 0,0 0 1 0 0,1 1-1 0 0,-1-1 0 0 0,1 1 0 0 0,0-1 1 0 0,0 1-1 0 0,1 0 0 0 0,-1 0 1 0 0,1 0-1 0 0,-2 4 0 0 0,3-8-9 0 0,0 1-1 0 0,0-1 1 0 0,0 0 0 0 0,0 0-1 0 0,0 1 1 0 0,0-1 0 0 0,0 0-1 0 0,0 1 1 0 0,0-1-1 0 0,0 0 1 0 0,0 0 0 0 0,0 1-1 0 0,0-1 1 0 0,0 0 0 0 0,0 1-1 0 0,0-1 1 0 0,0 0 0 0 0,1 0-1 0 0,-1 1 1 0 0,0-1-1 0 0,0 0 1 0 0,0 1 0 0 0,0-1-1 0 0,0 0 1 0 0,1 0 0 0 0,-1 0-1 0 0,0 1 1 0 0,1-1 0 0 0,10 1-201 0 0,-5-1 149 0 0,8-1 26 0 0,0-1 1 0 0,0 0-1 0 0,1 0 0 0 0,-1-2 1 0 0,-1 0-1 0 0,20-8 1 0 0,83-43 159 0 0,-95 45-101 0 0,244-140 497 0 0,-265 149-525 0 0,1 1-1 0 0,-1 0 1 0 0,0-1-1 0 0,1 1 1 0 0,-1 0 0 0 0,1-1-1 0 0,-1 1 1 0 0,1 0-1 0 0,-1 0 1 0 0,1-1-1 0 0,-1 1 1 0 0,1 0 0 0 0,-1 0-1 0 0,1 0 1 0 0,0 0-1 0 0,-1 0 1 0 0,1 0-1 0 0,-1 0 1 0 0,1 0 0 0 0,-1 0-1 0 0,1 0 1 0 0,-1 8-118 0 0,-13 17-72 0 0,-63 72 318 0 0,28-39-92 0 0,-141 206 32 0 0,184-257-60 0 0,0 2-1 0 0,0-1 0 0 0,1 0 1 0 0,0 1-1 0 0,1 0 0 0 0,0 0 1 0 0,0 0-1 0 0,-2 12 0 0 0,5-20-4 0 0,0 1-4 0 0,-1-1 1 0 0,1 1-1 0 0,0-1 0 0 0,0 1 0 0 0,0-1 1 0 0,0 1-1 0 0,0-1 0 0 0,0 1 0 0 0,0-1 1 0 0,1 1-1 0 0,-1-1 0 0 0,1 3 1 0 0,0-3-8 0 0,1 0 0 0 0,-1 0 1 0 0,0 0-1 0 0,0 0 1 0 0,0-1-1 0 0,0 1 1 0 0,1 0-1 0 0,-1-1 1 0 0,0 1-1 0 0,0-1 1 0 0,1 0-1 0 0,-1 1 1 0 0,0-1-1 0 0,1 0 0 0 0,-1 0 1 0 0,1 0-1 0 0,-1 0 1 0 0,3 0-1 0 0,18 0-30 0 0,0-1 0 0 0,0-1 1 0 0,0-1-1 0 0,0-1 0 0 0,0-1 0 0 0,-1-1 0 0 0,39-15 0 0 0,-3-5 149 0 0,88-52 0 0 0,58-65 128 0 0,-196 138-227 0 0,-5 4-7 0 0,-1-1 0 0 0,1 1 1 0 0,-1 0-1 0 0,1-1 0 0 0,-1 1 0 0 0,1 0 0 0 0,-1-1 0 0 0,2-3 0 0 0,-25 37 189 0 0,-45 50 0 0 0,-11 15-85 0 0,63-76-86 0 0,-19 31 32 0 0,32-47-53 0 0,-1-1 0 0 0,1 1 0 0 0,0-1 0 0 0,0 1 0 0 0,1 0 0 0 0,0 0 0 0 0,-1-1 0 0 0,2 1 0 0 0,-2 6 0 0 0,2-11-5 0 0,0 1-1 0 0,0-1 0 0 0,0 0 0 0 0,0 1 0 0 0,0-1 1 0 0,0 0-1 0 0,0 1 0 0 0,0-1 0 0 0,0 0 0 0 0,0 1 1 0 0,0-1-1 0 0,0 0 0 0 0,1 1 0 0 0,-1-1 1 0 0,0 0-1 0 0,0 0 0 0 0,0 1 0 0 0,0-1 0 0 0,1 0 1 0 0,-1 0-1 0 0,0 1 0 0 0,0-1 0 0 0,0 0 0 0 0,1 0 1 0 0,-1 1-1 0 0,0-1 0 0 0,0 0 0 0 0,1 0 1 0 0,-1 0-1 0 0,0 0 0 0 0,0 1 0 0 0,1-1 0 0 0,13-1-180 0 0,-10 0 155 0 0,9-2-11 0 0,0 0 0 0 0,0-1 0 0 0,0 0-1 0 0,20-10 1 0 0,49-32 134 0 0,-58 31-72 0 0,186-125 162 0 0,-71 45-14 0 0,-139 94-172 0 0,0 1 0 0 0,1 0 0 0 0,-1-1 0 0 0,0 1 0 0 0,0 0 0 0 0,1-1 0 0 0,-1 1 0 0 0,0 0 0 0 0,1 0 0 0 0,-1 0 0 0 0,0-1-1 0 0,1 1 1 0 0,-1 0 0 0 0,0 0 0 0 0,1 0 0 0 0,-1 0 0 0 0,0 0 0 0 0,1-1 0 0 0,-1 1 0 0 0,1 0 0 0 0,-1 0 0 0 0,0 0 0 0 0,1 0 0 0 0,-1 0 0 0 0,1 0 0 0 0,-1 0 0 0 0,0 0 0 0 0,1 1 0 0 0,-1-1 0 0 0,0 0 0 0 0,1 0 0 0 0,-1 0 0 0 0,1 0 0 0 0,-3 16-177 0 0,-4-2 204 0 0,0-1 0 0 0,-1 1-1 0 0,-1-2 1 0 0,0 1-1 0 0,-15 18 1 0 0,-5 7-6 0 0,-3 8-8 0 0,3-7 76 0 0,-32 61-1 0 0,58-97-82 0 0,1 0 0 0 0,0 0 0 0 0,-1 1-1 0 0,2-1 1 0 0,-1 0 0 0 0,0 1 0 0 0,0-1-1 0 0,1 7 1 0 0,0-10-4 0 0,0 0-1 0 0,0 0 0 0 0,0 0 0 0 0,0 0 0 0 0,0 0 1 0 0,0 1-1 0 0,0-1 0 0 0,0 0 0 0 0,0 0 1 0 0,0 0-1 0 0,0 0 0 0 0,0 0 0 0 0,0 0 1 0 0,0 0-1 0 0,0 1 0 0 0,0-1 0 0 0,1 0 0 0 0,-1 0 1 0 0,0 0-1 0 0,0 0 0 0 0,0 0 0 0 0,0 0 1 0 0,0 0-1 0 0,0 0 0 0 0,0 0 0 0 0,0 1 1 0 0,1-1-1 0 0,-1 0 0 0 0,0 0 0 0 0,0 0 0 0 0,0 0 1 0 0,0 0-1 0 0,0 0 0 0 0,0 0 0 0 0,1 0 1 0 0,-1 0-1 0 0,0 0 0 0 0,0 0 0 0 0,0 0 1 0 0,0 0-1 0 0,0 0 0 0 0,0 0 0 0 0,1 0 1 0 0,-1 0-1 0 0,0 0 0 0 0,0 0 0 0 0,0 0 0 0 0,0 0 1 0 0,0-1-1 0 0,0 1 0 0 0,1 0 0 0 0,-1 0 1 0 0,0 0-1 0 0,9-1-47 0 0,-1 0 0 0 0,1 0 0 0 0,0-1 0 0 0,-1-1 1 0 0,1 1-1 0 0,-1-1 0 0 0,0-1 0 0 0,15-8 0 0 0,67-46 98 0 0,-62 40-50 0 0,217-166 349 0 0,-249 201-686 0 0,-6-1 355 0 0,-2-1 1 0 0,0 0-1 0 0,0 0 0 0 0,-21 16 1 0 0,2 0 26 0 0,9-8-21 0 0,-5 4 31 0 0,2 0 1 0 0,-38 54-1 0 0,63-80-47 0 0,-1 1-7 0 0,0-1 0 0 0,0 0 0 0 0,0 0 1 0 0,1 1-1 0 0,-1-1 0 0 0,0 1 0 0 0,1-1 0 0 0,-1 1 0 0 0,1-1 0 0 0,-1 2 1 0 0,6 2-119 0 0,9-5-103 0 0,5-4 160 0 0,-1-1 0 0 0,1 0 1 0 0,-1-1-1 0 0,22-11 0 0 0,73-41 187 0 0,-77 39-35 0 0,34-20 3 0 0,55-27-42 0 0,-125 66-54 0 0,0 0-1 0 0,0 0 1 0 0,1 0-1 0 0,-1-1 1 0 0,0 1-1 0 0,0 0 1 0 0,0 0-1 0 0,0 0 0 0 0,1 0 1 0 0,-1 0-1 0 0,0-1 1 0 0,0 1-1 0 0,1 0 1 0 0,-1 0-1 0 0,0 0 1 0 0,0 0-1 0 0,1 0 1 0 0,-1 0-1 0 0,0 0 0 0 0,0 0 1 0 0,0 0-1 0 0,1 0 1 0 0,-1 0-1 0 0,0 0 1 0 0,0 0-1 0 0,1 0 1 0 0,-1 0-1 0 0,0 0 0 0 0,0 0 1 0 0,1 0-1 0 0,-1 1 1 0 0,0-1-1 0 0,0 0 1 0 0,0 0-1 0 0,1 0 1 0 0,-1 0-1 0 0,0 0 1 0 0,0 0-1 0 0,0 1 0 0 0,1-1 1 0 0,-1 0-1 0 0,0 0 1 0 0,0 0-1 0 0,0 1 1 0 0,0-1-1 0 0,0 0 1 0 0,0 0-1 0 0,1 0 1 0 0,-1 1-1 0 0,0-1 0 0 0,0 0 1 0 0,0 0-1 0 0,0 1 1 0 0,0-1-1 0 0,0 0 1 0 0,0 0-1 0 0,0 1 1 0 0,0-1-1 0 0,0 0 0 0 0,0 0 1 0 0,0 1-1 0 0,-7 14-178 0 0,-6 1 226 0 0,-2 0 0 0 0,-30 25 1 0 0,4-5 27 0 0,-28 28 72 0 0,67-63-138 0 0,0 0 0 0 0,1 1-1 0 0,-1-1 1 0 0,1 0 0 0 0,0 1 0 0 0,-1-1-1 0 0,1 1 1 0 0,0-1 0 0 0,0 1 0 0 0,0 0 0 0 0,0 0-1 0 0,0-1 1 0 0,0 1 0 0 0,1 0 0 0 0,-1 0-1 0 0,1 0 1 0 0,-1 2 0 0 0,1-4-8 0 0,0 0 0 0 0,0 0 1 0 0,0 0-1 0 0,0 0 0 0 0,0 0 0 0 0,0 1 0 0 0,0-1 1 0 0,0 0-1 0 0,0 0 0 0 0,0 0 0 0 0,0 0 1 0 0,0 0-1 0 0,0 0 0 0 0,0 0 0 0 0,0 0 0 0 0,0 0 1 0 0,1 1-1 0 0,-1-1 0 0 0,0 0 0 0 0,0 0 0 0 0,0 0 1 0 0,0 0-1 0 0,0 0 0 0 0,0 0 0 0 0,0 0 0 0 0,0 0 1 0 0,1 0-1 0 0,-1 0 0 0 0,0 0 0 0 0,0 0 0 0 0,0 0 1 0 0,0 0-1 0 0,0 0 0 0 0,0 0 0 0 0,0 0 0 0 0,1 0 1 0 0,-1 0-1 0 0,0 0 0 0 0,0 0 0 0 0,0 0 0 0 0,0 0 1 0 0,0 0-1 0 0,0 0 0 0 0,0 0 0 0 0,1 0 0 0 0,-1 0 1 0 0,0 0-1 0 0,0 0 0 0 0,0 0 0 0 0,0 0 0 0 0,0 0 1 0 0,9-1-57 0 0,-1 0 1 0 0,1 0 0 0 0,-1 0 0 0 0,0-1-1 0 0,0 0 1 0 0,1-1 0 0 0,8-4-1 0 0,0 1 10 0 0,281-123 347 0 0,-115 45-145 0 0,-170 78-155 0 0,-11 4-2 0 0,1 1 0 0 0,-1 0-1 0 0,0 0 1 0 0,0 0 0 0 0,1 1-1 0 0,-1-1 1 0 0,1 0 0 0 0,-1 1 0 0 0,1 0-1 0 0,2-1 1 0 0,-4 1 1 0 0,-1 0-1 0 0,0 0 1 0 0,0 0-1 0 0,0 0 1 0 0,0 0 0 0 0,0 0-1 0 0,0 0 1 0 0,0 0 0 0 0,0 0-1 0 0,0 0 1 0 0,0 0-1 0 0,0 1 1 0 0,1-1 0 0 0,-1 0-1 0 0,0 0 1 0 0,0 0-1 0 0,0 0 1 0 0,0 0 0 0 0,0 0-1 0 0,0 0 1 0 0,0 0 0 0 0,0 0-1 0 0,0 0 1 0 0,0 0-1 0 0,0 0 1 0 0,0 0 0 0 0,0 0-1 0 0,0 0 1 0 0,0 1-1 0 0,0-1 1 0 0,0 0 0 0 0,0 0-1 0 0,0 0 1 0 0,0 0 0 0 0,0 0-1 0 0,0 0 1 0 0,0 0-1 0 0,0 0 1 0 0,0 0 0 0 0,0 0-1 0 0,0 1 1 0 0,0-1-1 0 0,0 0 1 0 0,0 0 0 0 0,0 0-1 0 0,0 0 1 0 0,0 0 0 0 0,0 0-1 0 0,0 0 1 0 0,0 0-1 0 0,0 0 1 0 0,0 0 0 0 0,0 0-1 0 0,0 0 1 0 0,0 0-1 0 0,0 1 1 0 0,0-1 0 0 0,0 0-1 0 0,0 0 1 0 0,0 0 0 0 0,-1 0-1 0 0,1 0 1 0 0,0 0-1 0 0,0 0 1 0 0,0 0 0 0 0,-2 4-2 0 0,0-1 1 0 0,0 1-1 0 0,0-1 1 0 0,0 1 0 0 0,0-1-1 0 0,-1 0 1 0 0,0 0-1 0 0,0 0 1 0 0,0 0-1 0 0,0 0 1 0 0,0-1 0 0 0,0 0-1 0 0,-6 4 1 0 0,-1 1 24 0 0,-266 184 504 0 0,266-184-477 0 0,8-7-40 0 0,0 1 0 0 0,1 0 0 0 0,-1 0 0 0 0,1 0-1 0 0,-1 0 1 0 0,1 0 0 0 0,0 1 0 0 0,-1-1 0 0 0,1 0 0 0 0,0 1 0 0 0,0-1-1 0 0,0 1 1 0 0,0-1 0 0 0,0 1 0 0 0,-1 2 0 0 0,2-2-38 0 0,4-2-55 0 0,16-1-6 0 0,-1-1 0 0 0,0 0 1 0 0,26-8-1 0 0,61-20 260 0 0,-74 19-162 0 0,14-4 50 0 0,-23 7-34 0 0,0 1 0 0 0,0 0 0 0 0,1 2-1 0 0,48-5 1 0 0,-72 10-27 0 0,1 0 1 0 0,-1 0-1 0 0,0 0 0 0 0,1 0 0 0 0,-1 0 1 0 0,1 0-1 0 0,-1 0 0 0 0,0 0 0 0 0,1 0 1 0 0,-1 0-1 0 0,0 0 0 0 0,1 1 1 0 0,-1-1-1 0 0,0 0 0 0 0,1 0 0 0 0,-1 0 1 0 0,0 0-1 0 0,1 1 0 0 0,-1-1 0 0 0,0 0 1 0 0,0 0-1 0 0,1 1 0 0 0,-1-1 0 0 0,0 0 1 0 0,0 1-1 0 0,1-1 0 0 0,-1 0 0 0 0,0 1 1 0 0,0-1-1 0 0,-1 14-175 0 0,0-11 139 0 0,0 1 0 0 0,-1-1 0 0 0,0 1 0 0 0,0-1 0 0 0,-4 6 0 0 0,-14 12 85 0 0,-1-2-1 0 0,-1 0 1 0 0,-41 26 0 0 0,41-30-18 0 0,-65 47 55 0 0,81-58-73 0 0,5-3-10 0 0,0 0 0 0 0,0-1 0 0 0,0 1 0 0 0,0 0 1 0 0,0 0-1 0 0,0-1 0 0 0,0 1 0 0 0,0 0 0 0 0,0 0 1 0 0,0 0-1 0 0,0 0 0 0 0,0 0 0 0 0,1 1 0 0 0,-1-1 0 0 0,0 0 1 0 0,1 0-1 0 0,-1 0 0 0 0,1 1 0 0 0,-1 1 0 0 0,9-2-97 0 0,14-4 35 0 0,1-1 0 0 0,-1-1 1 0 0,0-1-1 0 0,30-13 1 0 0,-18 8 108 0 0,255-94 250 0 0,-287 104-365 0 0,-3 3 62 0 0,1-1 0 0 0,0 1 0 0 0,-1 0 0 0 0,1-1 1 0 0,-1 1-1 0 0,1-1 0 0 0,-1 1 0 0 0,0-1 1 0 0,0 1-1 0 0,0-1 0 0 0,0 1 0 0 0,0-1 0 0 0,0 0 1 0 0,0 1-1 0 0,0-1 0 0 0,0 0 0 0 0,-3 2 0 0 0,-27 18 161 0 0,18-13-156 0 0,6-3 22 0 0,-4 1 43 0 0,2 1 0 0 0,-1 1 1 0 0,1-1-1 0 0,-11 12 0 0 0,20-19-66 0 0,0 0 0 0 0,0 0 0 0 0,0 0-1 0 0,0 1 1 0 0,0-1 0 0 0,-1 0 0 0 0,1 0 0 0 0,0 0-1 0 0,0 0 1 0 0,0 0 0 0 0,0 0 0 0 0,0 1-1 0 0,0-1 1 0 0,0 0 0 0 0,0 0 0 0 0,0 0 0 0 0,0 0-1 0 0,0 0 1 0 0,0 1 0 0 0,0-1 0 0 0,0 0 0 0 0,0 0-1 0 0,0 0 1 0 0,0 0 0 0 0,0 1 0 0 0,0-1 0 0 0,0 0-1 0 0,0 0 1 0 0,0 0 0 0 0,0 0 0 0 0,0 0 0 0 0,0 1-1 0 0,0-1 1 0 0,0 0 0 0 0,0 0 0 0 0,0 0 0 0 0,0 0-1 0 0,0 0 1 0 0,1 1 0 0 0,-1-1 0 0 0,0 0 0 0 0,0 0-1 0 0,0 0 1 0 0,0 0 0 0 0,0 0 0 0 0,0 0 0 0 0,1 0-1 0 0,-1 0 1 0 0,0 0 0 0 0,0 1 0 0 0,0-1 0 0 0,0 0-1 0 0,0 0 1 0 0,1 0 0 0 0,-1 0 0 0 0,0 0 0 0 0,0 0-1 0 0,0 0 1 0 0,0 0 0 0 0,1 0 0 0 0,-1 0-1 0 0,0 0 1 0 0,0 0 0 0 0,0 0 0 0 0,0 0 0 0 0,0 0-1 0 0,1-1 1 0 0,-1 1 0 0 0,15-1-157 0 0,16-7 198 0 0,0-1 1 0 0,45-20 0 0 0,-46 16 30 0 0,1 2 0 0 0,51-12-1 0 0,-81 23-68 0 0,4 0-41 0 0,-6 7-88 0 0,0-3 117 0 0,-1-1 1 0 0,1 1-1 0 0,-1 0 1 0 0,0-1 0 0 0,0 1-1 0 0,0-1 1 0 0,0 1-1 0 0,0-1 1 0 0,-1 0 0 0 0,0 0-1 0 0,-2 3 1 0 0,-41 31 147 0 0,25-21-114 0 0,-162 123 269 0 0,180-137-301 0 0,-9 10 82 0 0,12-12-74 0 0,0 0 1 0 0,0 0-1 0 0,0 1 1 0 0,-1-1-1 0 0,1 0 1 0 0,0 0-1 0 0,0 0 1 0 0,0 0-1 0 0,0 0 1 0 0,0 0-1 0 0,0 0 1 0 0,0 1-1 0 0,0-1 1 0 0,0 0-1 0 0,0 0 1 0 0,0 0-1 0 0,0 0 1 0 0,0 0-1 0 0,0 0 0 0 0,0 1 1 0 0,0-1-1 0 0,0 0 1 0 0,0 0-1 0 0,0 0 1 0 0,1 0-1 0 0,-1 0 1 0 0,0 0-1 0 0,0 0 1 0 0,0 1-1 0 0,0-1 1 0 0,0 0-1 0 0,0 0 1 0 0,0 0-1 0 0,0 0 1 0 0,0 0-1 0 0,0 0 1 0 0,0 0-1 0 0,1 0 1 0 0,-1 0-1 0 0,0 1 1 0 0,12-1-253 0 0,13-3 217 0 0,-1-1 0 0 0,0-2-1 0 0,30-10 1 0 0,75-33 206 0 0,7-3-10 0 0,-131 51-165 0 0,0-1 1 0 0,-1 1-1 0 0,1 0 0 0 0,0 0 0 0 0,5 1 0 0 0,-9 0 1 0 0,-1 0-1 0 0,0 0 0 0 0,0 0 0 0 0,0 0 1 0 0,0 0-1 0 0,1 0 0 0 0,-1 0 0 0 0,0 0 0 0 0,0 1 1 0 0,0-1-1 0 0,0 0 0 0 0,0 0 0 0 0,1 0 1 0 0,-1 0-1 0 0,0 0 0 0 0,0 1 0 0 0,0-1 1 0 0,0 0-1 0 0,0 0 0 0 0,0 0 0 0 0,0 0 0 0 0,0 1 1 0 0,0-1-1 0 0,0 0 0 0 0,0 0 0 0 0,0 0 1 0 0,0 1-1 0 0,0-1 0 0 0,0 0 0 0 0,0 0 0 0 0,0 0 1 0 0,0 0-1 0 0,0 1 0 0 0,0-1 0 0 0,0 0 1 0 0,0 0-1 0 0,0 0 0 0 0,0 1 0 0 0,0 1-22 0 0,-1 1 33 0 0,1 0 0 0 0,0 0 0 0 0,-1 0 1 0 0,0 1-1 0 0,0-1 0 0 0,0 0 0 0 0,0 0 0 0 0,0 0 0 0 0,-1 0 0 0 0,1-1 1 0 0,-1 1-1 0 0,0 0 0 0 0,1-1 0 0 0,-4 4 0 0 0,-5 4 48 0 0,0 0-1 0 0,-13 10 1 0 0,15-14-1 0 0,0 1 1 0 0,0 1-1 0 0,1-1 0 0 0,-9 12 0 0 0,16-19-52 0 0,-1 0 1 0 0,1 0-1 0 0,0 1 0 0 0,0-1 0 0 0,-1 0 0 0 0,1 0 1 0 0,0 0-1 0 0,0 1 0 0 0,0-1 0 0 0,-1 0 1 0 0,1 0-1 0 0,0 0 0 0 0,0 1 0 0 0,0-1 0 0 0,0 0 1 0 0,0 0-1 0 0,0 1 0 0 0,0-1 0 0 0,-1 0 0 0 0,1 0 1 0 0,0 1-1 0 0,0-1 0 0 0,0 0 0 0 0,0 0 0 0 0,0 1 1 0 0,0-1-1 0 0,0 0 0 0 0,0 1 0 0 0,0-1 0 0 0,0 0 1 0 0,0 0-1 0 0,1 1 0 0 0,-1-1 0 0 0,0 0 0 0 0,0 0 1 0 0,0 1-1 0 0,0-1 0 0 0,0 0 0 0 0,0 0 1 0 0,1 0-1 0 0,-1 1 0 0 0,0-1 0 0 0,0 0 0 0 0,0 0 1 0 0,0 0-1 0 0,1 1 0 0 0,-1-1 0 0 0,0 0 0 0 0,0 0 1 0 0,1 0-1 0 0,-1 0 0 0 0,0 0 0 0 0,0 0 0 0 0,1 1 1 0 0,-1-1-1 0 0,0 0 0 0 0,0 0 0 0 0,1 0 0 0 0,-1 0 1 0 0,22-2-196 0 0,-19 1 182 0 0,29-7-3 0 0,-1-1-1 0 0,0-2 0 0 0,37-18 0 0 0,-32 13 34 0 0,35-15 52 0 0,-25 9-77 0 0,59-18 0 0 0,-104 39-1 0 0,-1 1 0 0 0,1 0-1 0 0,-1 0 1 0 0,0-1 0 0 0,1 1 0 0 0,-1 0-1 0 0,1 0 1 0 0,-1 0 0 0 0,1 0 0 0 0,-1 0-1 0 0,1 0 1 0 0,-1 0 0 0 0,1 0 0 0 0,-1 0-1 0 0,0 0 1 0 0,1 0 0 0 0,-1 0 0 0 0,1 0-1 0 0,-1 0 1 0 0,1 0 0 0 0,-1 0-1 0 0,1 0 1 0 0,-1 0 0 0 0,1 1 0 0 0,-1-1-1 0 0,0 0 1 0 0,1 0 0 0 0,-1 1 0 0 0,0-1-1 0 0,1 0 1 0 0,0 1 0 0 0,-1 0-7 0 0,-1 0 1 0 0,1-1-1 0 0,0 1 1 0 0,0 0-1 0 0,0 0 1 0 0,0 0-1 0 0,-1 0 1 0 0,1-1-1 0 0,0 1 1 0 0,0 0-1 0 0,-1 0 1 0 0,1-1-1 0 0,-1 1 0 0 0,1 0 1 0 0,-1-1-1 0 0,0 2 1 0 0,-12 12 34 0 0,-1 0 1 0 0,0-1-1 0 0,-1 0 1 0 0,-22 14-1 0 0,1 0 15 0 0,-107 83 104 0 0,139-107-134 0 0,0 0 0 0 0,0 0-1 0 0,1 1 1 0 0,-1-1 0 0 0,1 1-1 0 0,0-1 1 0 0,-5 8 0 0 0,9-10-23 0 0,0-1 1 0 0,-1 0-1 0 0,1 1 0 0 0,0-1 1 0 0,-1 0-1 0 0,1 0 1 0 0,0 0-1 0 0,-1 1 1 0 0,1-1-1 0 0,0 0 1 0 0,-1 0-1 0 0,1 0 1 0 0,0 0-1 0 0,-1 0 0 0 0,1 0 1 0 0,0-1-1 0 0,-1 1 1 0 0,1 0-1 0 0,0 0 1 0 0,0-1-1 0 0,25-4 29 0 0,0-2 0 0 0,-1-1-1 0 0,0-1 1 0 0,30-15 0 0 0,52-19 93 0 0,-86 38-201 0 0,-21 8-199 0 0,0-1 272 0 0,0 0-1 0 0,-1 1 0 0 0,0-1 0 0 0,1 0 0 0 0,-1 0 0 0 0,0 1 1 0 0,0-1-1 0 0,0 0 0 0 0,-1 0 0 0 0,1 0 0 0 0,0 0 1 0 0,-1 0-1 0 0,1 0 0 0 0,-3 1 0 0 0,-30 28 113 0 0,20-19-85 0 0,-48 41 95 0 0,-25 23 16 0 0,85-74-97 0 0,-1 0 0 0 0,1 0 0 0 0,0 1 0 0 0,0-1 0 0 0,0 1 0 0 0,0 0 0 0 0,-2 4 0 0 0,26-9-309 0 0,23-13 327 0 0,-1-1 0 0 0,45-25 0 0 0,-37 17 43 0 0,-6 2-37 0 0,-19 9-16 0 0,0 0 0 0 0,36-9 0 0 0,-63 22-27 0 0,1-1 1 0 0,-1 1 0 0 0,1 0-1 0 0,-1 0 1 0 0,1 0 0 0 0,-1 0-1 0 0,1-1 1 0 0,-1 1 0 0 0,1 0-1 0 0,-1 0 1 0 0,1 0 0 0 0,-1 0-1 0 0,1 0 1 0 0,-1 0 0 0 0,1 1-1 0 0,-1-1 1 0 0,1 0-1 0 0,-1 0 1 0 0,0 0 0 0 0,1 0-1 0 0,-1 1 1 0 0,1-1 0 0 0,0 0-1 0 0,-1 1-2 0 0,0-1-1 0 0,0 1 0 0 0,1-1 0 0 0,-1 1 0 0 0,0-1 0 0 0,0 1 1 0 0,0-1-1 0 0,0 1 0 0 0,0-1 0 0 0,0 0 0 0 0,0 1 0 0 0,0-1 1 0 0,0 1-1 0 0,-1-1 0 0 0,1 1 0 0 0,0-1 0 0 0,0 1 0 0 0,0-1 1 0 0,0 0-1 0 0,-1 1 0 0 0,-15 24-157 0 0,-6-1 246 0 0,-1-1 0 0 0,-35 28-1 0 0,22-21-36 0 0,-25 21 139 0 0,-22 20 177 0 0,61-49-160 0 0,22-22-198 0 0,0 1-1 0 0,-1-1 0 0 0,1 0 1 0 0,0 1-1 0 0,0-1 1 0 0,-1 0-1 0 0,1 0 0 0 0,0 1 1 0 0,0-1-1 0 0,0 0 0 0 0,-1 1 1 0 0,1-1-1 0 0,0 1 0 0 0,0-1 1 0 0,0 0-1 0 0,0 1 0 0 0,0-1 1 0 0,0 0-1 0 0,0 1 0 0 0,0-1 1 0 0,0 1-1 0 0,0-1 0 0 0,0 1 1 0 0,15-2-157 0 0,49-20 144 0 0,-2-2 0 0 0,70-37 1 0 0,-68 31 21 0 0,-3 0-25 0 0,-20 9 15 0 0,0 1 0 0 0,63-18 0 0 0,-104 37-9 0 0,1 0 0 0 0,-1-1-1 0 0,0 1 1 0 0,1 0 0 0 0,-1 0 0 0 0,0 0-1 0 0,1 0 1 0 0,-1-1 0 0 0,1 1-1 0 0,-1 0 1 0 0,0 0 0 0 0,1 0-1 0 0,-1 0 1 0 0,1 0 0 0 0,-1 0 0 0 0,0 0-1 0 0,1 0 1 0 0,-1 0 0 0 0,1 0-1 0 0,-1 0 1 0 0,0 1 0 0 0,1-1-1 0 0,-1 0 1 0 0,0 0 0 0 0,1 0 0 0 0,-1 0-1 0 0,0 0 1 0 0,1 1 0 0 0,-1-1-1 0 0,0 0 1 0 0,1 0 0 0 0,-1 1 0 0 0,0-1-1 0 0,1 0 1 0 0,-1 1 0 0 0,0-1-1 0 0,0 0 1 0 0,1 1 0 0 0,-1-1-1 0 0,0 0 1 0 0,0 1 0 0 0,0 0-6 0 0,0 0 0 0 0,0 1 0 0 0,0-1 0 0 0,-1 0 0 0 0,1 0 0 0 0,-1 0 1 0 0,1 0-1 0 0,-1 0 0 0 0,1 0 0 0 0,-1 0 0 0 0,1 0 0 0 0,-1 0 0 0 0,0 0 0 0 0,0 0 0 0 0,-10 9 30 0 0,0 0 0 0 0,-1-1 0 0 0,-15 10 0 0 0,-4 2 17 0 0,-51 38 61 0 0,-52 40 139 0 0,127-94-219 0 0,5-4-9 0 0,0 1 0 0 0,0-1-1 0 0,0 1 1 0 0,0 0-1 0 0,0-1 1 0 0,0 1-1 0 0,1 0 1 0 0,-1 0-1 0 0,1 0 1 0 0,-1 1 0 0 0,1-1-1 0 0,0 0 1 0 0,0 0-1 0 0,-2 4 1 0 0,3-4-22 0 0,5-2-58 0 0,5-1 22 0 0,0 0 0 0 0,0-1 0 0 0,0 0 1 0 0,-1-1-1 0 0,1 0 0 0 0,-1 0 0 0 0,10-5 1 0 0,-8 3 40 0 0,115-48 123 0 0,105-41 115 0 0,-220 90-215 0 0,-10 3-15 0 0,1 0-1 0 0,-1 1 1 0 0,0-1 0 0 0,1 0 0 0 0,0 1-1 0 0,-1-1 1 0 0,1 1 0 0 0,-1 0 0 0 0,1-1-1 0 0,0 1 1 0 0,-1 0 0 0 0,1 0 0 0 0,3 0-1 0 0,-5 6-154 0 0,-1-2 147 0 0,0 0 1 0 0,-1 0-1 0 0,1 0 1 0 0,-1 0-1 0 0,0 0 1 0 0,0 0-1 0 0,-1-1 0 0 0,1 1 1 0 0,-1-1-1 0 0,1 0 1 0 0,-1 0-1 0 0,0 0 1 0 0,-1 0-1 0 0,-4 4 0 0 0,2-2 21 0 0,-134 114 290 0 0,5-3-96 0 0,130-112-201 0 0,2-2-2 0 0,1 0 0 0 0,0 0 0 0 0,0 0 0 0 0,0 0 0 0 0,0 0 0 0 0,0 0 0 0 0,0 1 0 0 0,1-1 0 0 0,-1 1 0 0 0,1 0 0 0 0,-1-1 0 0 0,0 5 0 0 0,2-5-50 0 0,7-2-64 0 0,12-1 30 0 0,0-1 1 0 0,-1 0-1 0 0,1-2 0 0 0,22-6 1 0 0,79-31 301 0 0,-74 24-192 0 0,138-53-178 0 0,-180 69 138 0 0,0-1-1 0 0,0 1 0 0 0,0 0 1 0 0,1 0-1 0 0,-1 1 1 0 0,6-1-1 0 0,-10 1 10 0 0,0 0-1 0 0,0 0 1 0 0,1 0-1 0 0,-1 0 1 0 0,0 0 0 0 0,0 0-1 0 0,0 0 1 0 0,0 0-1 0 0,0 0 1 0 0,0 0 0 0 0,0 0-1 0 0,0 0 1 0 0,0 0-1 0 0,0 0 1 0 0,1 0-1 0 0,-1 0 1 0 0,0 0 0 0 0,0 0-1 0 0,0 0 1 0 0,0 1-1 0 0,0-1 1 0 0,0 0-1 0 0,0 0 1 0 0,0 0 0 0 0,0 0-1 0 0,0 0 1 0 0,0 0-1 0 0,0 0 1 0 0,0 0-1 0 0,0 0 1 0 0,0 0 0 0 0,0 0-1 0 0,0 1 1 0 0,0-1-1 0 0,0 0 1 0 0,0 0 0 0 0,0 0-1 0 0,0 0 1 0 0,0 0-1 0 0,0 0 1 0 0,0 0-1 0 0,0 0 1 0 0,0 0 0 0 0,0 0-1 0 0,0 1 1 0 0,0-1-1 0 0,0 0 1 0 0,0 0-1 0 0,0 0 1 0 0,0 0 0 0 0,0 0-1 0 0,0 0 1 0 0,0 0-1 0 0,0 0 1 0 0,0 0-1 0 0,0 0 1 0 0,0 0 0 0 0,0 0-1 0 0,-1 1 1 0 0,1 2-13 0 0,-1 0-1 0 0,0 0 1 0 0,-1 0 0 0 0,1 0 0 0 0,0 0 0 0 0,-1-1-1 0 0,0 1 1 0 0,0 0 0 0 0,0-1 0 0 0,0 1 0 0 0,0-1-1 0 0,0 1 1 0 0,-3 1 0 0 0,-39 29 175 0 0,28-21-139 0 0,-182 123 332 0 0,193-131-352 0 0,4-4 0 0 0,-1 1-1 0 0,1 0 1 0 0,0-1-1 0 0,0 1 0 0 0,0 0 1 0 0,0 0-1 0 0,0 0 1 0 0,0 0-1 0 0,0 0 1 0 0,0 0-1 0 0,0 0 1 0 0,0 0-1 0 0,0 0 1 0 0,1 0-1 0 0,-1 1 1 0 0,0-1-1 0 0,1 0 1 0 0,-1 0-1 0 0,1 1 1 0 0,-1 1-1 0 0,7-1-97 0 0,13-5 47 0 0,0 0 0 0 0,0-2 1 0 0,0 0-1 0 0,31-13 0 0 0,-16 6 128 0 0,21-10 79 0 0,-30 12-135 0 0,0 1-1 0 0,0 0 0 0 0,53-8 1 0 0,-76 16-37 0 0,0 1-61 0 0,-2 5-121 0 0,0-2 199 0 0,-1 0 0 0 0,0-1 0 0 0,0 1 0 0 0,0 0 0 0 0,0-1 0 0 0,-1 0 0 0 0,1 1 0 0 0,-1-1 0 0 0,1 0 0 0 0,-1 0 0 0 0,0 1 0 0 0,0-1 0 0 0,-2 1 0 0 0,-34 27 167 0 0,20-17-134 0 0,-81 67 238 0 0,97-79-267 0 0,1 0-2 0 0,0 0-1 0 0,0-1 1 0 0,0 1-1 0 0,0 0 0 0 0,0 0 1 0 0,0 0-1 0 0,0 0 1 0 0,1 0-1 0 0,-1-1 0 0 0,0 1 1 0 0,1 1-1 0 0,-1-1 1 0 0,0 0-1 0 0,1 0 0 0 0,0 0 1 0 0,-1 0-1 0 0,1 0 1 0 0,-1 2-1 0 0,7-1-157 0 0,8-3 100 0 0,-1-1 0 0 0,1 1 0 0 0,-1-2-1 0 0,13-4 1 0 0,59-21 255 0 0,-51 16-140 0 0,-6 3-12 0 0,-16 3-51 0 0,1 2 0 0 0,0 0 0 0 0,0 0 0 0 0,0 1 0 0 0,22-2 0 0 0,-35 6-5 0 0,1-1 1 0 0,-1 0 0 0 0,0 0 0 0 0,0 0-1 0 0,0 0 1 0 0,0 0 0 0 0,1 0 0 0 0,-1 0 0 0 0,0 0-1 0 0,0 0 1 0 0,0 0 0 0 0,0 0 0 0 0,0 0-1 0 0,1 1 1 0 0,-1-1 0 0 0,0 0 0 0 0,0 0 0 0 0,0 0-1 0 0,0 0 1 0 0,0 0 0 0 0,0 1 0 0 0,0-1-1 0 0,0 0 1 0 0,0 0 0 0 0,1 0 0 0 0,-1 0-1 0 0,0 1 1 0 0,0-1 0 0 0,0 0 0 0 0,0 0 0 0 0,0 0-1 0 0,0 0 1 0 0,0 1 0 0 0,0-1 0 0 0,0 0-1 0 0,0 0 1 0 0,0 0 0 0 0,0 1 0 0 0,0-1 0 0 0,0 0-1 0 0,-1 0 1 0 0,1 0 0 0 0,0 1 0 0 0,0 0-44 0 0,0 2 49 0 0,-1-1 0 0 0,1 0 0 0 0,-1 1 0 0 0,1-1 0 0 0,-1 0 0 0 0,0 0 0 0 0,0 0 0 0 0,0 0 0 0 0,0 0 0 0 0,0 0 0 0 0,0 0 0 0 0,-1 0 0 0 0,1 0 0 0 0,-1 0-1 0 0,-2 2 1 0 0,-34 26 152 0 0,25-21-123 0 0,-34 25 37 0 0,16-13-1 0 0,-29 27 0 0 0,57-45-61 0 0,2-3-2 0 0,0 0 0 0 0,1 1 0 0 0,-1 0-1 0 0,0-1 1 0 0,1 1 0 0 0,-1-1-1 0 0,0 1 1 0 0,1 0 0 0 0,-1 0 0 0 0,1-1-1 0 0,-1 1 1 0 0,1 0 0 0 0,0 0 0 0 0,-1 0-1 0 0,1-1 1 0 0,0 1 0 0 0,0 0 0 0 0,-1 1-1 0 0,19-1-155 0 0,-1-3 170 0 0,0 0 0 0 0,18-4 0 0 0,-31 5-18 0 0,10-1 40 0 0,-14 2-41 0 0,0 0 1 0 0,1 0-1 0 0,-1 0 1 0 0,0 0-1 0 0,1 0 1 0 0,-1 0-1 0 0,0 0 1 0 0,0 0-1 0 0,1 0 1 0 0,-1 0-1 0 0,0 1 1 0 0,1-1-1 0 0,-1 0 1 0 0,0 0-1 0 0,0 0 1 0 0,1 1-1 0 0,-1-1 1 0 0,0 0-1 0 0,0 0 1 0 0,0 0-1 0 0,1 1 1 0 0,-1-1-1 0 0,0 0 1 0 0,0 0-1 0 0,0 1 1 0 0,0-1-1 0 0,0 0 1 0 0,1 1-1 0 0,-1-1 1 0 0,0 0-1 0 0,0 1 1 0 0,0-1-1 0 0,0 0 1 0 0,0 0-1 0 0,0 1 1 0 0,0-1-1 0 0,0 1 1 0 0,0 3 9 0 0,0 0 0 0 0,0 0-1 0 0,0 0 1 0 0,0 0 0 0 0,-1 0 0 0 0,0 0 0 0 0,0 0 0 0 0,0 0 0 0 0,0 0-1 0 0,0 0 1 0 0,-1 0 0 0 0,0-1 0 0 0,0 1 0 0 0,0-1 0 0 0,0 1 0 0 0,-4 4 0 0 0,-43 44 191 0 0,30-33-62 0 0,-18 24 0 0 0,35-41-120 0 0,1-1-7 0 0,0 0 0 0 0,0 0 0 0 0,0 1 0 0 0,0-1 0 0 0,1 0 0 0 0,-1 0 0 0 0,0 1 0 0 0,1-1 1 0 0,-1 1-1 0 0,1-1 0 0 0,-1 0 0 0 0,1 1 0 0 0,-1-1 0 0 0,1 2 0 0 0,2-2-24 0 0,-1-1 0 0 0,0 0 0 0 0,1 1 0 0 0,-1-1 1 0 0,1 0-1 0 0,-1 0 0 0 0,1 0 0 0 0,-1-1 0 0 0,1 1 0 0 0,1-1 1 0 0,-2 1 11 0 0,24-5 41 0 0,-1-1 0 0 0,1-2 0 0 0,-1 0 0 0 0,26-14 0 0 0,-19 9 1 0 0,64-20 0 0 0,-95 33-46 0 0,0 0 1 0 0,0 0-1 0 0,1 0 1 0 0,-1 0-1 0 0,0 0 1 0 0,1 0-1 0 0,-1 0 1 0 0,0 0-1 0 0,0 0 1 0 0,1 0-1 0 0,-1 0 1 0 0,0 0-1 0 0,0 0 1 0 0,1 0-1 0 0,-1 0 1 0 0,0 0-1 0 0,1 0 1 0 0,-1 0-1 0 0,0 0 1 0 0,0 0 0 0 0,1 0-1 0 0,-1 1 1 0 0,0-1-1 0 0,0 0 1 0 0,1 0-1 0 0,-1 0 1 0 0,0 0-1 0 0,0 1 1 0 0,0-1-1 0 0,1 0 1 0 0,-1 0-1 0 0,0 0 1 0 0,0 1-1 0 0,0-1 1 0 0,0 0-1 0 0,0 0 1 0 0,1 1-1 0 0,-1-1 1 0 0,0 0-1 0 0,0 1 1 0 0,-1 12-61 0 0,1-8 78 0 0,-1-2-3 0 0,0 1 0 0 0,1 0 0 0 0,-1-1 0 0 0,-1 1 0 0 0,1-1 0 0 0,0 1 0 0 0,-1-1 0 0 0,0 1 0 0 0,0-1 0 0 0,0 0 1 0 0,-3 3-1 0 0,-31 33 80 0 0,28-32-65 0 0,0 1 0 0 0,1-1 0 0 0,0 1 0 0 0,-7 12 0 0 0,14-20-21 0 0,-1 1 1 0 0,1-1 0 0 0,0 0-1 0 0,0 0 1 0 0,0 1-1 0 0,-1-1 1 0 0,1 0 0 0 0,0 1-1 0 0,0-1 1 0 0,0 0-1 0 0,0 0 1 0 0,0 1 0 0 0,0-1-1 0 0,-1 0 1 0 0,1 1 0 0 0,0-1-1 0 0,0 0 1 0 0,0 1-1 0 0,0-1 1 0 0,0 0 0 0 0,0 1-1 0 0,0-1 1 0 0,0 0-1 0 0,1 1 1 0 0,-1-1 0 0 0,0 0-1 0 0,0 1 1 0 0,0-1 0 0 0,0 0-1 0 0,0 0 1 0 0,1 1-1 0 0,9-1-65 0 0,19-11-78 0 0,-25 9 145 0 0,143-77-14 0 0,-46 23-430 0 0,-100 55 437 0 0,1 0-14 0 0,1-1 0 0 0,0 1 0 0 0,-1 0 0 0 0,1 0 0 0 0,0 0 1 0 0,-1 0-1 0 0,1 0 0 0 0,0 1 0 0 0,4-1 0 0 0,-7 1 13 0 0,0 0-1 0 0,0 0 1 0 0,0 0 0 0 0,0 0 0 0 0,0 0 0 0 0,0 0-1 0 0,0 0 1 0 0,1 0 0 0 0,-1 0 0 0 0,0 0 0 0 0,0 0 0 0 0,0 0-1 0 0,0 0 1 0 0,0 0 0 0 0,0 0 0 0 0,0 0 0 0 0,0 0 0 0 0,0 0-1 0 0,0 0 1 0 0,0 1 0 0 0,1-1 0 0 0,-1 0 0 0 0,0 0-1 0 0,0 0 1 0 0,0 0 0 0 0,0 0 0 0 0,0 0 0 0 0,0 0 0 0 0,0 0-1 0 0,0 0 1 0 0,0 0 0 0 0,0 1 0 0 0,0-1 0 0 0,0 0 0 0 0,0 0-1 0 0,0 0 1 0 0,0 0 0 0 0,0 0 0 0 0,0 0 0 0 0,0 0-1 0 0,0 0 1 0 0,0 0 0 0 0,0 1 0 0 0,0-1 0 0 0,0 0 0 0 0,0 0-1 0 0,0 0 1 0 0,0 0 0 0 0,0 0 0 0 0,0 0 0 0 0,0 0 0 0 0,0 0-1 0 0,-1 0 1 0 0,1 5-15 0 0,0 0 0 0 0,-1 0 0 0 0,0 0 0 0 0,0 0 0 0 0,-1-1 1 0 0,1 1-1 0 0,-1 0 0 0 0,0-1 0 0 0,0 1 0 0 0,-1-1 0 0 0,-2 4 0 0 0,-7 9 138 0 0,-19 21 0 0 0,15-20-38 0 0,-22 25 169 0 0,18-22-120 0 0,1 1 0 0 0,-25 39 0 0 0,43-60-129 0 0,-1 1 1 0 0,1 0-1 0 0,0-1 0 0 0,1 1 1 0 0,-1 0-1 0 0,0 0 0 0 0,1 0 1 0 0,-1 0-1 0 0,1 0 0 0 0,-1 0 1 0 0,1 4-1 0 0,4-5-165 0 0,3-2 147 0 0,-1 1-1 0 0,1-1 1 0 0,-1-1-1 0 0,0 1 1 0 0,1-1-1 0 0,-1 0 0 0 0,8-4 1 0 0,46-25 56 0 0,-41 20-36 0 0,30-13 0 0 0,-48 23-7 0 0,-1 1 1 0 0,1 0-1 0 0,0-1 1 0 0,-1 1-1 0 0,1 0 0 0 0,-1 0 1 0 0,1-1-1 0 0,0 1 1 0 0,-1 0-1 0 0,1 0 0 0 0,0 0 1 0 0,-1 0-1 0 0,1 0 1 0 0,0 0-1 0 0,-1 0 0 0 0,1 0 1 0 0,0 0-1 0 0,-1 0 0 0 0,1 0 1 0 0,0 0-1 0 0,-1 0 1 0 0,1 1-1 0 0,0-1 0 0 0,-1 0 1 0 0,1 0-1 0 0,-1 1 1 0 0,1-1-1 0 0,0 1 0 0 0,0 0-15 0 0,-1 1-1 0 0,1-1 1 0 0,-1 0 0 0 0,0 1-1 0 0,1-1 1 0 0,-1 1-1 0 0,0-1 1 0 0,0 0-1 0 0,0 1 1 0 0,0 2 0 0 0,0-1 40 0 0,-1 3-10 0 0,1 0-1 0 0,-1-1 1 0 0,0 1-1 0 0,-1 0 1 0 0,1-1-1 0 0,-1 1 1 0 0,0-1 0 0 0,-4 8-1 0 0,-28 43 136 0 0,8-15-21 0 0,24-39-118 0 0,1 1 0 0 0,0-1 1 0 0,0 0-1 0 0,0 1 0 0 0,1-1 0 0 0,-1 0 0 0 0,0 1 0 0 0,1-1 0 0 0,-1 5 0 0 0,1-7-6 0 0,0 0 0 0 0,0 0-1 0 0,0 0 1 0 0,0 0 0 0 0,0 0-1 0 0,0 0 1 0 0,0 0 0 0 0,0 0 0 0 0,0 1-1 0 0,0-1 1 0 0,0 0 0 0 0,0 0 0 0 0,0 0-1 0 0,0 0 1 0 0,0 0 0 0 0,1 0 0 0 0,-1 0-1 0 0,0 0 1 0 0,0 0 0 0 0,0 0 0 0 0,0 0-1 0 0,0 0 1 0 0,0 1 0 0 0,0-1 0 0 0,0 0-1 0 0,0 0 1 0 0,0 0 0 0 0,0 0-1 0 0,0 0 1 0 0,0 0 0 0 0,1 0 0 0 0,-1 0-1 0 0,0 0 1 0 0,0 0 0 0 0,0 0 0 0 0,0 0-1 0 0,0 0 1 0 0,0 0 0 0 0,0 0 0 0 0,0 0-1 0 0,0 0 1 0 0,1 0 0 0 0,-1 0 0 0 0,0 0-1 0 0,0 0 1 0 0,0 0 0 0 0,0 0 0 0 0,0 0-1 0 0,0 0 1 0 0,0 0 0 0 0,0 0-1 0 0,0 0 1 0 0,0 0 0 0 0,1-1 0 0 0,3 1-25 0 0,0 0 1 0 0,-1-1-1 0 0,1 0 0 0 0,0 0 1 0 0,0 0-1 0 0,0-1 1 0 0,-1 1-1 0 0,7-4 0 0 0,32-21 49 0 0,-20 11-2 0 0,26-17-47 0 0,-29 18-58 0 0,0 1 0 0 0,41-19 0 0 0,-59 31 72 0 0,-1 1 0 0 0,1 0 0 0 0,-1 0 0 0 0,1-1 0 0 0,-1 1 0 0 0,1 0 0 0 0,-1 0 0 0 0,1 0 0 0 0,-1 0 0 0 0,1 0 0 0 0,-1 0-1 0 0,0 0 1 0 0,1 0 0 0 0,-1 0 0 0 0,1 0 0 0 0,-1 0 0 0 0,1 0 0 0 0,-1 0 0 0 0,1 0 0 0 0,-1 0 0 0 0,1 0 0 0 0,-1 1 0 0 0,1-1-1 0 0,-1 0 1 0 0,1 0 0 0 0,-1 1 0 0 0,0-1 0 0 0,1 0 0 0 0,-1 0 0 0 0,1 1 0 0 0,0 0 4 0 0,-1 0 0 0 0,0 0 1 0 0,1 0-1 0 0,-1 0 0 0 0,0 0 1 0 0,1 0-1 0 0,-1 1 0 0 0,0-1 1 0 0,0 0-1 0 0,0 0 0 0 0,0 0 1 0 0,0 0-1 0 0,0 2 0 0 0,-1 2 58 0 0,0 0 0 0 0,0 0 1 0 0,-1 0-1 0 0,1 0 0 0 0,-4 8 0 0 0,-6 5 183 0 0,-19 24-1 0 0,17-25-37 0 0,-16 28-1 0 0,29-44-197 0 0,-1 1 0 0 0,0-1 0 0 0,0 1 0 0 0,1-1 0 0 0,-1 1 0 0 0,1-1 1 0 0,0 1-1 0 0,-1-1 0 0 0,1 1 0 0 0,0 0 0 0 0,0 2 0 0 0,5-4-136 0 0,7-3 104 0 0,0-1 0 0 0,0 0 0 0 0,0 0 0 0 0,0-2 0 0 0,-1 1 1 0 0,1-1-1 0 0,-1-1 0 0 0,10-8 0 0 0,-7 5 11 0 0,1 1 0 0 0,-1 1 0 0 0,1 0 0 0 0,25-9 0 0 0,-40 17 17 0 0,1 0 0 0 0,0-1 1 0 0,-1 1-1 0 0,1 0 1 0 0,-1 0-1 0 0,1 0 0 0 0,0-1 1 0 0,-1 1-1 0 0,1 0 1 0 0,-1 0-1 0 0,1 0 1 0 0,0 0-1 0 0,-1 0 0 0 0,1 0 1 0 0,0 0-1 0 0,-1 0 1 0 0,1 0-1 0 0,-1 1 1 0 0,1-1-1 0 0,0 0 0 0 0,-1 0 1 0 0,1 0-1 0 0,-1 1 1 0 0,1-1-1 0 0,0 0 0 0 0,-1 1 1 0 0,1-1-1 0 0,-1 1 1 0 0,1-1-1 0 0,-1 0 1 0 0,0 1-1 0 0,1-1 0 0 0,-1 1 1 0 0,1-1-1 0 0,-1 1 1 0 0,1 0-1 0 0,-1 2-27 0 0,1 0 1 0 0,-1 0-1 0 0,1-1 1 0 0,-1 1-1 0 0,0 0 0 0 0,0 0 1 0 0,-1 3-1 0 0,0 2 93 0 0,0 0-32 0 0,-1-1 0 0 0,0 1 0 0 0,0 0 0 0 0,-1-1 0 0 0,0 1 0 0 0,0-1 0 0 0,0 0 0 0 0,-1 0 0 0 0,-1 0 0 0 0,1-1 0 0 0,-8 9 0 0 0,5-6 1 0 0,1 0 1 0 0,0 1 0 0 0,0 0-1 0 0,-6 16 1 0 0,9-10-9 0 0,3-11-35 0 0,5-5-70 0 0,8-3 58 0 0,0-1 1 0 0,-1 0-1 0 0,1 0 0 0 0,-1-2 1 0 0,0 1-1 0 0,19-13 1 0 0,-17 9-8 0 0,0 1 1 0 0,1 1 0 0 0,0 1 0 0 0,25-8 0 0 0,-40 14 25 0 0,1-1 1 0 0,0 1 0 0 0,-1 0-1 0 0,1 0 1 0 0,0 0 0 0 0,-1-1-1 0 0,1 1 1 0 0,-1 0 0 0 0,1 0-1 0 0,0 0 1 0 0,-1 0 0 0 0,1 0-1 0 0,0 0 1 0 0,-1 0 0 0 0,1 1-1 0 0,0-1 1 0 0,-1 0 0 0 0,1 0-1 0 0,0 0 1 0 0,-1 1-1 0 0,1-1 1 0 0,-1 0 0 0 0,1 1-1 0 0,-1-1 1 0 0,1 0 0 0 0,-1 1-1 0 0,1-1 1 0 0,-1 1 0 0 0,1-1-1 0 0,-1 1 1 0 0,1-1 0 0 0,-1 1-1 0 0,0-1 1 0 0,1 1 0 0 0,-1 0-1 0 0,1 2-12 0 0,0 0 0 0 0,-1 0-1 0 0,0 0 1 0 0,0 0-1 0 0,0 0 1 0 0,-1 5-1 0 0,1 0 114 0 0,-1-1-50 0 0,-1-1 0 0 0,1 1 0 0 0,-1-1 0 0 0,0 0 0 0 0,-1 1 0 0 0,1-1 0 0 0,-1 0 0 0 0,-1-1 0 0 0,1 1 0 0 0,-6 7 0 0 0,-5 10 57 0 0,1-4-34 0 0,10-17-55 0 0,1 1 0 0 0,0 0 0 0 0,0 0 0 0 0,0 1 0 0 0,0-1 0 0 0,0 0 0 0 0,1 0 0 0 0,0 1 0 0 0,-1-1 0 0 0,1 1 0 0 0,1-1 0 0 0,-2 6 0 0 0,8-10-129 0 0,15-9-156 0 0,0 0 0 0 0,-1-1 0 0 0,0-1 0 0 0,31-25 0 0 0,-9 6-661 0 0,-38 29 841 0 0,-3 1 54 0 0,1-1-1 0 0,0 1 0 0 0,-1 0 0 0 0,1 0 0 0 0,0 0 0 0 0,0 0 1 0 0,0 0-1 0 0,-1 1 0 0 0,1-1 0 0 0,0 0 0 0 0,0 1 1 0 0,4-1-1 0 0,-6 2 10 0 0,0 0 0 0 0,1 0 0 0 0,-1 0 0 0 0,0 0 0 0 0,0 0 0 0 0,1 0 0 0 0,-1 0 0 0 0,0 0 0 0 0,0 0 0 0 0,0 0 0 0 0,0 0 0 0 0,-1 2 0 0 0,1-1-6 0 0,0 4 92 0 0,-1 1 1 0 0,1-1-1 0 0,-1 0 1 0 0,-1 0-1 0 0,1 0 1 0 0,-1 0-1 0 0,0 0 1 0 0,-5 8-1 0 0,-3 5 212 0 0,-15 20 0 0 0,17-29-111 0 0,1 1 1 0 0,1 0 0 0 0,-1 1 0 0 0,2-1 0 0 0,-1 1 0 0 0,-4 18 0 0 0,10-30-156 0 0,0 1-1 0 0,-1-1 0 0 0,1 0 0 0 0,0 1 1 0 0,0-1-1 0 0,0 0 0 0 0,0 1 0 0 0,0-1 1 0 0,0 0-1 0 0,0 1 0 0 0,0-1 0 0 0,0 0 1 0 0,0 1-1 0 0,0-1 0 0 0,0 0 1 0 0,0 1-1 0 0,0-1 0 0 0,0 0 0 0 0,0 1 1 0 0,0-1-1 0 0,0 0 0 0 0,0 0 0 0 0,0 1 1 0 0,0-1-1 0 0,1 0 0 0 0,-1 1 1 0 0,0-1-1 0 0,0 0 0 0 0,0 0 0 0 0,1 1 1 0 0,-1-1-1 0 0,0 0 0 0 0,0 0 0 0 0,1 1 1 0 0,-1-1-1 0 0,0 0 0 0 0,0 0 0 0 0,1 0 1 0 0,-1 0-1 0 0,0 1 0 0 0,1-1 1 0 0,-1 0-1 0 0,18-5-110 0 0,7-7-249 0 0,-2-1 1 0 0,35-26 0 0 0,-31 20-336 0 0,34-17 0 0 0,-58 34 673 0 0,-1 1 0 0 0,1 0 0 0 0,-1 0 0 0 0,1 0 0 0 0,-1 0 0 0 0,1 0 0 0 0,-1 1 0 0 0,6-1 0 0 0,-6 4-99 0 0,-2 3 215 0 0,0 0 1 0 0,0-1 0 0 0,-1 1 0 0 0,0 0 0 0 0,0 0 0 0 0,0-1-1 0 0,-1 1 1 0 0,0 0 0 0 0,0-1 0 0 0,0 1 0 0 0,-1-1 0 0 0,-3 7-1 0 0,-76 118 1640 0 0,80-128-1709 0 0,1 0 1 0 0,0 0 0 0 0,0 0-1 0 0,0 0 1 0 0,1 0 0 0 0,-1 0-1 0 0,0 0 1 0 0,1 1 0 0 0,0-1-1 0 0,-1 2 1 0 0,1-3-35 0 0,1-1 0 0 0,-1 0 1 0 0,0 0-1 0 0,1 0 0 0 0,-1 0 0 0 0,0 0 0 0 0,1 1 0 0 0,-1-1 1 0 0,0 0-1 0 0,1 0 0 0 0,-1 0 0 0 0,1 0 0 0 0,-1 0 0 0 0,0 0 1 0 0,1 0-1 0 0,-1 0 0 0 0,0-1 0 0 0,1 1 0 0 0,-1 0 0 0 0,0 0 1 0 0,1 0-1 0 0,-1 0 0 0 0,0 0 0 0 0,1 0 0 0 0,-1-1 0 0 0,0 1 1 0 0,0 0-1 0 0,1 0 0 0 0,-1-1 0 0 0,0 1 0 0 0,1 0 0 0 0,45-29-331 0 0,79-66 1 0 0,-125 95 331 0 0,0 0 1 0 0,0 0 0 0 0,0 0 0 0 0,0 0-1 0 0,0-1 1 0 0,0 1 0 0 0,0 0-1 0 0,0 0 1 0 0,1 0 0 0 0,-1 0-1 0 0,0 0 1 0 0,0 0 0 0 0,0 0 0 0 0,0 0-1 0 0,0 0 1 0 0,1-1 0 0 0,-1 1-1 0 0,0 0 1 0 0,0 0 0 0 0,0 0 0 0 0,0 0-1 0 0,0 0 1 0 0,1 0 0 0 0,-1 0-1 0 0,0 0 1 0 0,0 0 0 0 0,0 0 0 0 0,0 0-1 0 0,0 0 1 0 0,1 0 0 0 0,-1 0-1 0 0,0 1 1 0 0,0-1 0 0 0,0 0 0 0 0,0 0-1 0 0,0 0 1 0 0,1 0 0 0 0,-1 0-1 0 0,0 0 1 0 0,0 0 0 0 0,0 0 0 0 0,0 0-1 0 0,0 0 1 0 0,0 1 0 0 0,0-1-1 0 0,1 0 1 0 0,-1 0 0 0 0,0 0 0 0 0,0 0-1 0 0,0 1 1 0 0,1 10 101 0 0,-6 16 261 0 0,1-19-253 0 0,0-1-1 0 0,0 0 0 0 0,-10 13 1 0 0,11-16-49 0 0,-1 1 0 0 0,1-1 1 0 0,0 1-1 0 0,0 0 0 0 0,0 0 1 0 0,1 0-1 0 0,-1 0 0 0 0,1 0 0 0 0,0 0 1 0 0,1 1-1 0 0,-1-1 0 0 0,0 9 1 0 0,18-15-197 0 0,-7-3 120 0 0,0 1 1 0 0,-1-1-1 0 0,1-1 0 0 0,12-8 0 0 0,-12 7-75 0 0,0 1-1 0 0,0 0 1 0 0,16-6-1 0 0,-25 11 78 0 0,0 0 1 0 0,1 0-1 0 0,-1 0 0 0 0,0 0 0 0 0,1 1 0 0 0,-1-1 1 0 0,0 0-1 0 0,1 0 0 0 0,-1 1 0 0 0,0-1 0 0 0,0 0 0 0 0,1 0 1 0 0,-1 1-1 0 0,0-1 0 0 0,0 0 0 0 0,0 0 0 0 0,1 1 1 0 0,-1-1-1 0 0,0 0 0 0 0,0 1 0 0 0,0-1 0 0 0,0 0 0 0 0,0 1 1 0 0,0-1-1 0 0,0 0 0 0 0,0 1 0 0 0,0-1 0 0 0,0 1 1 0 0,0-1-1 0 0,0 0 0 0 0,0 1 0 0 0,0-1 0 0 0,0 0 1 0 0,0 1-1 0 0,0 0 0 0 0,-1 17 34 0 0,1-16-16 0 0,-1 5 32 0 0,-1 1-1 0 0,1-1 1 0 0,-2 0 0 0 0,1 0 0 0 0,-1 0 0 0 0,0 0 0 0 0,0-1 0 0 0,-1 1 0 0 0,-5 6-1 0 0,5-5 52 0 0,-1-1-1 0 0,1 1 0 0 0,0 0 0 0 0,0 0 0 0 0,-4 16 0 0 0,8-24-82 0 0,0 1 1 0 0,0-1-1 0 0,0 0 1 0 0,0 0 0 0 0,0 0-1 0 0,0 1 1 0 0,0-1-1 0 0,0 0 1 0 0,0 0 0 0 0,0 0-1 0 0,0 0 1 0 0,0 1-1 0 0,0-1 1 0 0,0 0-1 0 0,0 0 1 0 0,0 0 0 0 0,0 1-1 0 0,0-1 1 0 0,0 0-1 0 0,0 0 1 0 0,0 0 0 0 0,0 0-1 0 0,0 1 1 0 0,0-1-1 0 0,0 0 1 0 0,1 0 0 0 0,-1 0-1 0 0,0 0 1 0 0,0 0-1 0 0,0 1 1 0 0,0-1-1 0 0,0 0 1 0 0,0 0 0 0 0,1 0-1 0 0,-1 0 1 0 0,0 0-1 0 0,0 0 1 0 0,0 0 0 0 0,1 1-1 0 0,9-4-131 0 0,7-6 79 0 0,24-16-1 0 0,-28 15-68 0 0,1 2-1 0 0,0 0 1 0 0,28-12-1 0 0,-41 19 117 0 0,-1 1-1 0 0,1 0 1 0 0,-1 0-1 0 0,1-1 1 0 0,-1 1-1 0 0,1 0 1 0 0,-1 0-1 0 0,1 0 0 0 0,-1 0 1 0 0,1 0-1 0 0,-1 0 1 0 0,1 0-1 0 0,-1 0 1 0 0,1 0-1 0 0,-1 0 1 0 0,1 0-1 0 0,-1 0 1 0 0,1 0-1 0 0,-1 0 1 0 0,1 0-1 0 0,-1 0 0 0 0,1 0 1 0 0,-1 1-1 0 0,0-1 1 0 0,1 0-1 0 0,-1 0 1 0 0,1 1-1 0 0,-1-1 1 0 0,1 0-1 0 0,-1 1 1 0 0,0-1-1 0 0,1 0 1 0 0,-1 1-1 0 0,0-1 0 0 0,1 1 1 0 0,-1 0-1 0 0,2 19-161 0 0,-3-12 305 0 0,0 1-60 0 0,0 0-1 0 0,-1 0 0 0 0,0 0 1 0 0,0-1-1 0 0,-1 1 1 0 0,-1-1-1 0 0,1 1 0 0 0,-1-1 1 0 0,-1 0-1 0 0,-9 13 1 0 0,7-11 3 0 0,1 1 1 0 0,0-1 0 0 0,1 1-1 0 0,0 0 1 0 0,-5 18-1 0 0,10-29-80 0 0,0 0-1 0 0,0 0 0 0 0,0 0 0 0 0,0 1 0 0 0,0-1 0 0 0,-1 0 0 0 0,1 0 1 0 0,0 0-1 0 0,0 0 0 0 0,0 0 0 0 0,0 0 0 0 0,0 1 0 0 0,0-1 1 0 0,1 0-1 0 0,-1 0 0 0 0,0 0 0 0 0,0 0 0 0 0,0 0 0 0 0,0 0 0 0 0,0 1 1 0 0,0-1-1 0 0,0 0 0 0 0,0 0 0 0 0,0 0 0 0 0,0 0 0 0 0,0 0 0 0 0,0 0 1 0 0,0 0-1 0 0,0 1 0 0 0,1-1 0 0 0,-1 0 0 0 0,0 0 0 0 0,0 0 0 0 0,0 0 1 0 0,0 0-1 0 0,0 0 0 0 0,0 0 0 0 0,0 0 0 0 0,1 0 0 0 0,-1 0 1 0 0,0 0-1 0 0,0 0 0 0 0,0 0 0 0 0,0 0 0 0 0,0 0 0 0 0,1 0 0 0 0,-1 0 1 0 0,0 0-1 0 0,0 0 0 0 0,0 0 0 0 0,0 0 0 0 0,0 0 0 0 0,0 0 0 0 0,1 0 1 0 0,-1 0-1 0 0,0 0 0 0 0,0 0 0 0 0,0 0 0 0 0,0 0 0 0 0,0 0 1 0 0,1-1-1 0 0,9-4-129 0 0,9-8 15 0 0,22-18 0 0 0,-2 0-519 0 0,-39 32 622 0 0,0-1 0 0 0,1 0 0 0 0,-1 1-1 0 0,0-1 1 0 0,1 0 0 0 0,-1 1 0 0 0,0-1 0 0 0,0 0 0 0 0,1 1 0 0 0,-1-1 0 0 0,0 1 0 0 0,0-1 0 0 0,0 0-1 0 0,0 1 1 0 0,1-1 0 0 0,-1 1 0 0 0,0-1 0 0 0,0 1 0 0 0,0-1 0 0 0,0 0 0 0 0,0 1 0 0 0,0-1 0 0 0,0 1-1 0 0,0-1 1 0 0,0 1 0 0 0,0-1 0 0 0,0 0 0 0 0,-1 1 0 0 0,1 0 0 0 0,-1 17 206 0 0,-1-8-77 0 0,0-1 0 0 0,-1 0 0 0 0,0 0 0 0 0,-1 0 0 0 0,-4 8 0 0 0,4-10-76 0 0,0 0 0 0 0,1 0-1 0 0,0 0 1 0 0,1 0 0 0 0,0 1 0 0 0,0-1-1 0 0,0 1 1 0 0,0 8 0 0 0,2-14-96 0 0,5-3 26 0 0,-1 0 0 0 0,0 0 0 0 0,1 0 0 0 0,-1-1 0 0 0,0 1 0 0 0,0-1 0 0 0,0 0 0 0 0,0 0-1 0 0,0-1 1 0 0,0 1 0 0 0,-1-1 0 0 0,1 0 0 0 0,4-4 0 0 0,-5 3 3 0 0,1 1-1 0 0,-1 0 0 0 0,0 1 1 0 0,1-1-1 0 0,0 1 0 0 0,0-1 0 0 0,0 1 1 0 0,0 0-1 0 0,0 1 0 0 0,0-1 0 0 0,0 1 1 0 0,1 0-1 0 0,5-2 0 0 0,-9 18-260 0 0,-1 95 648 0 0,5-110-464 0 0,1 0 35 0 0,0-1-1 0 0,0 0 0 0 0,0 0 1 0 0,8-3-1 0 0,-8 2-45 0 0,1 0-1 0 0,-1 1 1 0 0,0 0-1 0 0,9 0 0 0 0,-14 1 94 0 0,-1 0 0 0 0,1 0 0 0 0,-1 1 1 0 0,0-1-1 0 0,1 0 0 0 0,-1 1 0 0 0,0-1 0 0 0,1 1 0 0 0,-1-1 0 0 0,0 1 0 0 0,0-1 0 0 0,1 0 0 0 0,-1 1 0 0 0,0-1 0 0 0,0 1 0 0 0,0-1 0 0 0,0 1 0 0 0,0-1 0 0 0,0 1 0 0 0,1-1 0 0 0,-1 1 0 0 0,0-1 0 0 0,0 1 0 0 0,-1-1 0 0 0,1 2 0 0 0,0 18-39 0 0,0-15 53 0 0,1 6 59 0 0,-1 0 1 0 0,-1 1-1 0 0,0-1 0 0 0,0 0 0 0 0,-1 1 0 0 0,0-1 1 0 0,-1 0-1 0 0,0 0 0 0 0,-8 17 0 0 0,4-16-83 0 0,25-42-2273 0 0,-5 18 1162 0 0,-8 26-248 0 0,-6-12 1474 0 0,0 0 0 0 0,0 1 1 0 0,-1-1-1 0 0,1 0 1 0 0,-1 0-1 0 0,-2 2 1 0 0,-28 29 893 0 0,15-17-620 0 0,-63 64 395 0 0,-176 192 1794 0 0,240-255-2286 0 0,16-17-261 0 0,0-1 0 0 0,0 1-1 0 0,0 0 1 0 0,0 0 0 0 0,0 0 0 0 0,0 0 0 0 0,0 0 0 0 0,0 0-1 0 0,0 0 1 0 0,0 0 0 0 0,0 0 0 0 0,0 0 0 0 0,0 0 0 0 0,0 0-1 0 0,0 0 1 0 0,0 0 0 0 0,0 0 0 0 0,0 0 0 0 0,0 0-1 0 0,0 0 1 0 0,0-1 0 0 0,0 1 0 0 0,0 0 0 0 0,0 0 0 0 0,0 0-1 0 0,0 0 1 0 0,0 0 0 0 0,0 0 0 0 0,0 0 0 0 0,0 0 0 0 0,0 0-1 0 0,0 0 1 0 0,-1 0 0 0 0,1 0 0 0 0,0 0 0 0 0,0 0 0 0 0,0 0-1 0 0,0 0 1 0 0,0 0 0 0 0,0 0 0 0 0,0 0 0 0 0,0 0 0 0 0,0 0-1 0 0,0 0 1 0 0,0 0 0 0 0,0 0 0 0 0,0 0 0 0 0,0 0 0 0 0,0 0-1 0 0,0 0 1 0 0,0 0 0 0 0,0 0 0 0 0,0 0 0 0 0,-1 0 0 0 0,9-15-83 0 0,37-47-184 0 0,12-20-566 0 0,-41 52-515 0 0,-1-2-1 0 0,-2 0 1 0 0,-1 0 0 0 0,-2-1 0 0 0,-1-1 0 0 0,6-48-1 0 0,-5 4 5075 0 0,-12 98-1932 0 0,-1-8-1349 0 0,0 0 0 0 0,-1 0 0 0 0,0 0 0 0 0,-11 21 0 0 0,-31 45 1158 0 0,27-46-940 0 0,-1-3 162 0 0,-32 37-1 0 0,7-10 532 0 0,44-55-1281 0 0,1-2-60 0 0,0 0 0 0 0,-1-1-1 0 0,1 1 1 0 0,0 0-1 0 0,0-1 1 0 0,0 1 0 0 0,0 0-1 0 0,0-1 1 0 0,0 1-1 0 0,1 0 1 0 0,-1-2-1 0 0,1-2 11 0 0,0-5-47 0 0,1 0 0 0 0,0 0 0 0 0,1 1 0 0 0,0-1 0 0 0,1 1 0 0 0,7-15 0 0 0,6-16-77 0 0,15-62-530 0 0,-27 84 176 0 0,-1-1 1 0 0,-1 0-1 0 0,1-29 1 0 0,-6 71 643 0 0,-1 0 0 0 0,-1 0 0 0 0,-1-1 0 0 0,-12 36 0 0 0,4-11 189 0 0,-55 223 1275 0 0,45-175-1083 0 0,18-74-383 0 0,1-1 0 0 0,0 2 0 0 0,-1 33 0 0 0,16-67-308 0 0,17-23 172 0 0,-3-1 0 0 0,36-63 1 0 0,27-92-1165 0 0,-66 142 744 0 0,-20 81-19 0 0,-4 9 581 0 0,-2-1 0 0 0,-2-1 0 0 0,-15 54 0 0 0,-10 65 649 0 0,31-158-840 0 0,0 0-1 0 0,0 1 0 0 0,0-1 1 0 0,0 0-1 0 0,0 0 1 0 0,0 0-1 0 0,0 0 0 0 0,0 0 1 0 0,0 0-1 0 0,0 1 1 0 0,0-1-1 0 0,0 0 0 0 0,0 0 1 0 0,0 0-1 0 0,0 0 1 0 0,0 0-1 0 0,0 1 0 0 0,0-1 1 0 0,0 0-1 0 0,0 0 1 0 0,0 0-1 0 0,0 0 0 0 0,0 0 1 0 0,0 0-1 0 0,0 1 0 0 0,0-1 1 0 0,0 0-1 0 0,0 0 1 0 0,0 0-1 0 0,0 0 0 0 0,1 0 1 0 0,-1 0-1 0 0,0 1 1 0 0,0-1-1 0 0,0 0 0 0 0,0 0 1 0 0,0 0-1 0 0,0 0 1 0 0,0 0-1 0 0,1 0 0 0 0,-1 0 1 0 0,0 0-1 0 0,0 0 1 0 0,0 0-1 0 0,0 0 0 0 0,0 0 1 0 0,1 0-1 0 0,-1 0 1 0 0,0 0-1 0 0,8-6 18 0 0,13-20-48 0 0,-15 18 71 0 0,50-61-308 0 0,-2-3 0 0 0,49-91 0 0 0,-97 147 233 0 0,0 2 22 0 0,-7 24 23 0 0,-3 1 4 0 0,0 0 0 0 0,-1 1 0 0 0,0-2 0 0 0,-1 1 0 0 0,0-1 0 0 0,-11 14 0 0 0,-2 5 16 0 0,-112 156 359 0 0,113-164-314 0 0,-1 0-1 0 0,0-1 0 0 0,-2-2 0 0 0,0 0 1 0 0,-1-1-1 0 0,-26 16 0 0 0,45-31-65 0 0,0-1 1 0 0,0 1-1 0 0,0-1 0 0 0,0 1 0 0 0,0-1 0 0 0,-1 0 0 0 0,1 0 0 0 0,0-1 0 0 0,0 1 1 0 0,-7 0-1 0 0,9-1-10 0 0,0-1 1 0 0,0 1-1 0 0,0 0 0 0 0,0-1 1 0 0,1 1-1 0 0,-1 0 1 0 0,0-1-1 0 0,0 1 1 0 0,1-1-1 0 0,-1 1 0 0 0,0-1 1 0 0,1 1-1 0 0,-1-1 1 0 0,0 0-1 0 0,1 1 0 0 0,-1-1 1 0 0,1 0-1 0 0,-1 0 1 0 0,1 1-1 0 0,-1-1 1 0 0,1 0-1 0 0,0 0 0 0 0,-1 0 1 0 0,1 1-1 0 0,0-1 1 0 0,0 0-1 0 0,-1 0 1 0 0,1 0-1 0 0,0 0 0 0 0,0-1 1 0 0,-2-35-164 0 0,1 24 73 0 0,-12-107-172 0 0,10 100 175 0 0,-1 0 0 0 0,-2 1 0 0 0,-14-38 0 0 0,19 55 80 0 0,0 0 1 0 0,0 0-1 0 0,0-1 1 0 0,-1 1-1 0 0,1 0 1 0 0,-1 0-1 0 0,1 0 0 0 0,-1 0 1 0 0,0 1-1 0 0,0-1 1 0 0,1 0-1 0 0,-1 1 0 0 0,-1-1 1 0 0,1 1-1 0 0,0 0 1 0 0,0 0-1 0 0,0 0 1 0 0,-1 0-1 0 0,1 0 0 0 0,0 0 1 0 0,-1 0-1 0 0,1 1 1 0 0,-1-1-1 0 0,1 1 0 0 0,-1 0 1 0 0,1 0-1 0 0,-1 0 1 0 0,-4 0-1 0 0,1 1-5 0 0,-1 1 0 0 0,1 0 0 0 0,-1-1 0 0 0,1 2 1 0 0,0-1-1 0 0,0 1 0 0 0,0 0 0 0 0,0 0 0 0 0,-8 7 0 0 0,-36 30 158 0 0,-55 57 0 0 0,57-51 231 0 0,48-45-376 0 0,0-1 0 0 0,0 0 0 0 0,0 0 0 0 0,0 0 0 0 0,0 0 0 0 0,0 0 0 0 0,0 1 0 0 0,-1-1 0 0 0,1 0 0 0 0,0 0 0 0 0,0 0 0 0 0,0 0 0 0 0,0 0 0 0 0,0 0 0 0 0,-1 0 0 0 0,1 1 0 0 0,0-1 0 0 0,0 0 0 0 0,0 0 0 0 0,0 0 0 0 0,-1 0 0 0 0,1 0 0 0 0,0 0 0 0 0,0 0 0 0 0,0 0 0 0 0,0 0 0 0 0,-1 0 0 0 0,1 0 0 0 0,0 0 0 0 0,0 0 0 0 0,0 0 0 0 0,-1 0 0 0 0,1 0 0 0 0,0 0 0 0 0,0 0 0 0 0,0-1 0 0 0,0 1 0 0 0,-1 0 0 0 0,0-8 45 0 0,4-12 16 0 0,1 7-51 0 0,1 0 0 0 0,0 0 0 0 0,13-22-1 0 0,1-3-41 0 0,-9 18-41 0 0,-7 13-7 0 0,1 0-1 0 0,-1 0 0 0 0,0-1 1 0 0,0 1-1 0 0,-1-1 0 0 0,0 0 1 0 0,0 0-1 0 0,0-10 0 0 0,-13 32-103 0 0,-186 206 701 0 0,195-218-497 0 0,0 1-3 0 0,0-1 1 0 0,0 1-1 0 0,0 0 0 0 0,0 0 1 0 0,0 0-1 0 0,-2 4 1 0 0,4-6-43 0 0,3-5-42 0 0,10-14 56 0 0,2 1 1 0 0,0 0-1 0 0,24-19 0 0 0,-19 18-293 0 0,-1-1 0 0 0,21-26 0 0 0,-45 49-46 0 0,-2 2 282 0 0,-1-1 0 0 0,1 0 0 0 0,-15 7 0 0 0,-4 4 91 0 0,-34 23 563 0 0,58-38-458 0 0,2-2-131 0 0,0 0 0 0 0,-1-1-1 0 0,1 1 1 0 0,0 0 0 0 0,0 0-1 0 0,1 0 1 0 0,-1 0 0 0 0,0-1 0 0 0,0 1-1 0 0,0 0 1 0 0,1 0 0 0 0,-1 0-1 0 0,1 0 1 0 0,-1 0 0 0 0,1 0-1 0 0,-1 0 1 0 0,2-2 0 0 0,8-10-18 0 0,0 1 0 0 0,1 0 0 0 0,16-14-1 0 0,7-8-98 0 0,-18 17 38 0 0,-8 9-29 0 0,0 0 0 0 0,0-1 0 0 0,6-10-1 0 0,-13 17 21 0 0,-1 4 19 0 0,0-1 76 0 0,0 0 0 0 0,-1 0 1 0 0,1 1-1 0 0,0-1 0 0 0,-1 0 0 0 0,1 0 1 0 0,-1 0-1 0 0,1 0 0 0 0,-1 0 0 0 0,0 0 1 0 0,1 0-1 0 0,-1 0 0 0 0,0 0 0 0 0,0 0 1 0 0,-2 1-1 0 0,-17 14-1 0 0,9-8 13 0 0,-6 12-17 0 0</inkml:trace>
</inkml:ink>
</file>

<file path=ppt/ink/ink4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15.547"/>
    </inkml:context>
    <inkml:brush xml:id="br0">
      <inkml:brushProperty name="width" value="0.35" units="cm"/>
      <inkml:brushProperty name="height" value="0.35" units="cm"/>
    </inkml:brush>
  </inkml:definitions>
  <inkml:trace contextRef="#ctx0" brushRef="#br0">1204 481 11605 0 0,'0'0'46'0'0,"3"-20"-49"0"0,10-67 224 0 0,-4 41 528 0 0,-7 40-364 0 0,-1 0 1 0 0,0 0-1 0 0,0-1 1 0 0,0-10 154 0 0,-1 21-193 0 0,-1-1-299 0 0,1 0 0 0 0,-1 0 1 0 0,1 0-1 0 0,-1 0 0 0 0,0 0 0 0 0,0-1 0 0 0,0 1 1 0 0,0 0-1 0 0,-1-1 0 0 0,1 1 0 0 0,-1-1 0 0 0,-3 5 1 0 0,-32 31-6 0 0,24-25-9 0 0,-33 29 60 0 0,-2-1-1 0 0,-101 64 0 0 0,143-101 30 0 0,0 0 0 0 0,-1-1 0 0 0,1 0-1 0 0,-12 4 1 0 0,16-6-58 0 0,-1-1 66 0 0,2-6-26 0 0,2-8-120 0 0,0 1-1 0 0,1-1 0 0 0,0 0 0 0 0,8-23 0 0 0,25-55 75 0 0,-21 56-90 0 0,11-38 0 0 0,-20 53 28 0 0,0 0 0 0 0,-2-1 1 0 0,2-43-1 0 0,-4 60 6 0 0,-1 5-4 0 0,0-1-1 0 0,0 1 0 0 0,0-1 1 0 0,0 0-1 0 0,0 1 0 0 0,0-1 1 0 0,0 1-1 0 0,0-1 1 0 0,0 1-1 0 0,0-1 0 0 0,0 0 1 0 0,0 1-1 0 0,0-1 0 0 0,0 1 1 0 0,0-1-1 0 0,-1 1 1 0 0,1-1-1 0 0,0 1 0 0 0,0-1 1 0 0,-1 1-1 0 0,1-1 0 0 0,0 1 1 0 0,-1-1-1 0 0,1 1 1 0 0,-1 0-1 0 0,1-1 0 0 0,0 1 1 0 0,-1-1-1 0 0,1 1 1 0 0,-1 0-1 0 0,1 0 0 0 0,-1-1 1 0 0,1 1-1 0 0,-1 0 0 0 0,1 0 1 0 0,-1-1-1 0 0,1 1 1 0 0,-1 0-1 0 0,0 0 0 0 0,1 0 1 0 0,-1 0-1 0 0,1 0 0 0 0,-1 0 1 0 0,1 0-1 0 0,-1 0 1 0 0,1 0-1 0 0,-2 0 0 0 0,-6 0 9 0 0,-1 1-1 0 0,0 0 0 0 0,0 0 1 0 0,1 1-1 0 0,-1 0 1 0 0,1 0-1 0 0,0 1 0 0 0,0 0 1 0 0,0 1-1 0 0,-10 5 0 0 0,-82 54-4 0 0,77-47-34 0 0,-278 218 176 0 0,296-231-188 0 0,8-9-55 0 0,12-14-115 0 0,40-39 213 0 0,19-22 258 0 0,-54 56-238 0 0,37-48 51 0 0,-50 63-49 0 0,-1 0 0 0 0,0-1 0 0 0,0 1 1 0 0,-1-1-1 0 0,4-13 0 0 0,-8 23-20 0 0,-1 0 0 0 0,0 1 0 0 0,1-1 0 0 0,-1 0 0 0 0,0 1-1 0 0,0-1 1 0 0,0 0 0 0 0,1 0 0 0 0,-1 1 0 0 0,0-1 0 0 0,0 0 0 0 0,0 0 0 0 0,0 1-1 0 0,0-1 1 0 0,-1 0 0 0 0,1 1 0 0 0,0-1 0 0 0,0 0 0 0 0,0 0 0 0 0,-1 1-1 0 0,1-1 1 0 0,-1-1 0 0 0,0 2 1 0 0,0 0 0 0 0,1 0-1 0 0,-1 0 1 0 0,0 0 0 0 0,0 0-1 0 0,0 0 1 0 0,0 0 0 0 0,0 0 0 0 0,0 0-1 0 0,0 0 1 0 0,1 0 0 0 0,-1 0-1 0 0,0 0 1 0 0,0 1 0 0 0,0-1 0 0 0,0 0-1 0 0,1 1 1 0 0,-1-1 0 0 0,0 1-1 0 0,-1 0 1 0 0,-35 20 71 0 0,1 2 0 0 0,-34 28 0 0 0,52-38-70 0 0,-231 182 23 0 0,222-176-4 0 0,30-34-161 0 0,10-5 94 0 0,1 1 0 0 0,1 0 0 0 0,21-19-1 0 0,-2 1 168 0 0,1-2-65 0 0,-2-2 0 0 0,-2 0-1 0 0,36-65 1 0 0,-64 101-56 0 0,0 0-1 0 0,-1 0 1 0 0,0 0-1 0 0,0-1 1 0 0,0 1-1 0 0,-1 0 1 0 0,0-1-1 0 0,0 0 1 0 0,1-7-1 0 0,-2 12-3 0 0,-1 0 1 0 0,1 0-1 0 0,0 1 0 0 0,0-1 0 0 0,0 0 0 0 0,-1 0 0 0 0,1 1 0 0 0,-1-1 0 0 0,1 0 1 0 0,0 1-1 0 0,-1-1 0 0 0,1 0 0 0 0,-1 1 0 0 0,1-1 0 0 0,-1 1 0 0 0,0-1 1 0 0,1 1-1 0 0,-1-1 0 0 0,0 1 0 0 0,1 0 0 0 0,-1-1 0 0 0,0 1 0 0 0,1 0 0 0 0,-1-1 1 0 0,0 1-1 0 0,0 0 0 0 0,1 0 0 0 0,-1-1 0 0 0,0 1 0 0 0,0 0 0 0 0,1 0 1 0 0,-1 0-1 0 0,0 0 0 0 0,0 0 0 0 0,1 0 0 0 0,-1 1 0 0 0,0-1 0 0 0,-1 0 0 0 0,-34 7 38 0 0,4 5-31 0 0,1 2 0 0 0,1 1 1 0 0,0 1-1 0 0,-27 20 0 0 0,-54 43-31 0 0,68-47 30 0 0,41-31 0 0 0,13-5-95 0 0,0 0 1 0 0,-1-1-1 0 0,1 0 1 0 0,-1 0-1 0 0,14-11 1 0 0,8-4 152 0 0,4-3-2 0 0,30-17 18 0 0,-76 50-179 0 0,-206 146 204 0 0,155-112-78 0 0,59-42-19 0 0,3-5-77 0 0,0 0 33 0 0,0 0 0 0 0,0 0 0 0 0,0 0 0 0 0,1 1 0 0 0,-1-1 0 0 0,1 0 1 0 0,0 1-1 0 0,-1-1 0 0 0,5-3 0 0 0,25-23-80 0 0,-10 9 128 0 0,19-24 59 0 0,37-54 0 0 0,-62 73-148 0 0,-15 24-8 0 0,-46 27 68 0 0,1 2 1 0 0,-56 45-1 0 0,47-33 42 0 0,48-35-21 0 0,5-5 1 0 0,-1 1 0 0 0,1 0 0 0 0,-1 0 0 0 0,1 0 1 0 0,-1 0-1 0 0,1 0 0 0 0,-1 1 0 0 0,1-1 0 0 0,0 0 0 0 0,0 1 0 0 0,0-1 1 0 0,0 1-1 0 0,0-1 0 0 0,0 1 0 0 0,0-1 0 0 0,-1 3 0 0 0,7-3-47 0 0,9-2 3 0 0,-1 0-1 0 0,0-1 1 0 0,1 0 0 0 0,18-7 0 0 0,57-23-15 0 0,-66 23 58 0 0,36-14 49 0 0,43-17 67 0 0,-84 35-98 0 0,0 0-1 0 0,1 0 0 0 0,30-2 0 0 0,-48 7-28 0 0,1 0 0 0 0,-1-1-1 0 0,1 1 1 0 0,-1 0 0 0 0,1 0-1 0 0,-1 0 1 0 0,1 0 0 0 0,-1 1-1 0 0,0-1 1 0 0,1 0 0 0 0,-1 0-1 0 0,1 1 1 0 0,-1-1 0 0 0,0 1-1 0 0,1-1 1 0 0,-1 1 0 0 0,0 0-1 0 0,2 1 1 0 0,-2-1 8 0 0,0 1 0 0 0,-1 0 0 0 0,1-1 0 0 0,0 1 0 0 0,-1 0 0 0 0,0 0 0 0 0,1-1 0 0 0,-1 1 0 0 0,0 0 1 0 0,0 0-1 0 0,0 0 0 0 0,0 3 0 0 0,-4 79 187 0 0,3-73-173 0 0,-1-1 0 0 0,0 0 1 0 0,-1 0-1 0 0,0 0 0 0 0,-9 18 1 0 0,12-26-14 0 0,-31 64 24 0 0,28-58-25 0 0,1 0 1 0 0,0 1-1 0 0,0-1 0 0 0,0 1 1 0 0,1-1-1 0 0,0 11 0 0 0,1-19 1 0 0,0 1 0 0 0,0 0 0 0 0,0-1 0 0 0,0 1-1 0 0,0 0 1 0 0,0-1 0 0 0,1 1 0 0 0,-1 0 0 0 0,0-1-1 0 0,0 1 1 0 0,1 0 0 0 0,-1-1 0 0 0,1 1 0 0 0,-1-1 0 0 0,0 1-1 0 0,1 0 1 0 0,-1-1 0 0 0,1 1 0 0 0,-1-1 0 0 0,1 0 0 0 0,-1 1-1 0 0,1-1 1 0 0,0 1 0 0 0,-1-1 0 0 0,1 0 0 0 0,-1 1 0 0 0,1-1-1 0 0,0 0 1 0 0,-1 0 0 0 0,1 0 0 0 0,0 1 0 0 0,0-1 0 0 0,-1 0-1 0 0,1 0 1 0 0,0 0 0 0 0,-1 0 0 0 0,2 0 0 0 0,32-4-101 0 0,-29 3 77 0 0,14-4-27 0 0,-1 0 0 0 0,0-1 0 0 0,22-10-1 0 0,54-32 149 0 0,-59 30-60 0 0,103-60 148 0 0,25-12-61 0 0,-160 88-106 0 0,8-3-77 0 0,-9 7-6 0 0,-5 5-1 0 0,-10 10 104 0 0,0-2 0 0 0,-1 1 0 0 0,-1-2 0 0 0,-16 13 0 0 0,1 0-17 0 0,-1 2 7 0 0,-208 201 213 0 0,234-225-230 0 0,3-3-6 0 0,0-1 0 0 0,0 1 0 0 0,1 0 0 0 0,-1 0 0 0 0,1-1 0 0 0,-1 1 0 0 0,1 0 0 0 0,0 0 0 0 0,-1 0 0 0 0,1 1 0 0 0,0-1 0 0 0,0 0 0 0 0,1 0 0 0 0,-1 1-1 0 0,0-1 1 0 0,0 3 0 0 0,2-3-29 0 0,7-3-40 0 0,8-3-10 0 0,1 0 0 0 0,-1-1 0 0 0,24-11 0 0 0,49-30 180 0 0,-52 26-12 0 0,208-119 334 0 0,-101 55-403 0 0,-143 84-24 0 0,8-5-8 0 0,0 0 0 0 0,0 0 0 0 0,15-4 0 0 0,-24 9 3 0 0,0 0 1 0 0,1 0-1 0 0,-1 0 0 0 0,1 0 0 0 0,-1 0 1 0 0,0 0-1 0 0,1 0 0 0 0,-1 0 0 0 0,1 0 1 0 0,-1 0-1 0 0,0 1 0 0 0,1-1 0 0 0,-1 0 1 0 0,0 0-1 0 0,1 0 0 0 0,-1 1 0 0 0,0-1 1 0 0,1 0-1 0 0,-1 0 0 0 0,0 1 0 0 0,1-1 1 0 0,-1 0-1 0 0,0 1 0 0 0,0-1 0 0 0,1 0 1 0 0,-1 1-1 0 0,0-1 0 0 0,0 0 0 0 0,0 1 1 0 0,1-1-1 0 0,-1 0 0 0 0,0 1 0 0 0,0-1 1 0 0,0 1-1 0 0,0-1 0 0 0,0 1 0 0 0,0-1 1 0 0,0 0-1 0 0,0 1 0 0 0,0-1 0 0 0,0 1 0 0 0,0-1 1 0 0,0 0-1 0 0,0 1 0 0 0,0-1 0 0 0,0 1 1 0 0,-1 0-1 0 0,-3 22 81 0 0,-1-13-51 0 0,-1 0 1 0 0,1-1-1 0 0,-2 0 0 0 0,1 0 0 0 0,-14 15 0 0 0,10-13-13 0 0,-89 97 72 0 0,15-19-45 0 0,81-85-37 0 0,0-1-1 0 0,0 0 0 0 0,0 0 0 0 0,1 0 0 0 0,-1 0 1 0 0,1 1-1 0 0,0-1 0 0 0,0 1 0 0 0,0 0 0 0 0,0 0 0 0 0,0 0 0 0 0,0 4 1 0 0,2-8-3 0 0,0 0 0 0 0,0 1 1 0 0,0-1-1 0 0,-1 0 1 0 0,1 0-1 0 0,0 0 1 0 0,0 0-1 0 0,0 0 1 0 0,0 1-1 0 0,0-1 0 0 0,0 0 1 0 0,0 0-1 0 0,0 0 1 0 0,0 0-1 0 0,0 1 1 0 0,0-1-1 0 0,1 0 1 0 0,-1 0-1 0 0,0 0 0 0 0,0 0 1 0 0,0 0-1 0 0,0 1 1 0 0,0-1-1 0 0,0 0 1 0 0,0 0-1 0 0,0 0 1 0 0,0 0-1 0 0,0 0 1 0 0,1 0-1 0 0,-1 1 0 0 0,0-1 1 0 0,0 0-1 0 0,0 0 1 0 0,0 0-1 0 0,0 0 1 0 0,0 0-1 0 0,1 0 1 0 0,-1 0-1 0 0,0 0 0 0 0,0 0 1 0 0,0 0-1 0 0,0 0 1 0 0,0 0-1 0 0,1 0 1 0 0,-1 0-1 0 0,0 0 1 0 0,0 0-1 0 0,0 0 0 0 0,0 0 1 0 0,1 0-1 0 0,-1 0 1 0 0,0 0-1 0 0,0 0 1 0 0,0 0-1 0 0,0 0 1 0 0,0 0-1 0 0,1 0 1 0 0,7 0-31 0 0,0-1 0 0 0,1 0 0 0 0,-1 0 0 0 0,0 0 0 0 0,0-1 1 0 0,0-1-1 0 0,9-3 0 0 0,58-28-28 0 0,-53 23 71 0 0,139-78 83 0 0,-92 49-67 0 0,76-33 1 0 0,-144 72-35 0 0,-1 1-1 0 0,1 0 0 0 0,-1 0 1 0 0,1-1-1 0 0,-1 1 1 0 0,1 0-1 0 0,0 0 1 0 0,-1 0-1 0 0,1-1 1 0 0,-1 1-1 0 0,1 0 0 0 0,0 0 1 0 0,-1 0-1 0 0,1 0 1 0 0,0 0-1 0 0,-1 0 1 0 0,1 1-1 0 0,-1-1 0 0 0,1 0 1 0 0,0 0-1 0 0,-1 0 1 0 0,1 0-1 0 0,0 1 1 0 0,-1-1 3 0 0,1 1 0 0 0,-1-1 0 0 0,0 1 0 0 0,0-1 1 0 0,1 1-1 0 0,-1 0 0 0 0,0-1 0 0 0,0 1 0 0 0,0-1 1 0 0,0 1-1 0 0,1-1 0 0 0,-1 1 0 0 0,0 0 0 0 0,0-1 1 0 0,0 1-1 0 0,0-1 0 0 0,0 1 0 0 0,-1-1 0 0 0,1 2 0 0 0,-1 2 20 0 0,0 1-1 0 0,-1 0 0 0 0,0-1 0 0 0,-4 9 0 0 0,-9 9 47 0 0,-1-1 1 0 0,-34 35 0 0 0,28-32-31 0 0,-5 2-10 0 0,21-21-16 0 0,0 1 0 0 0,0-1 0 0 0,1 1 0 0 0,0 0 0 0 0,0 1 0 0 0,-5 7 0 0 0,10-11-13 0 0,6-5-33 0 0,43-21 25 0 0,-1-2 0 0 0,76-55 0 0 0,-23 14 106 0 0,-65 43-60 0 0,-21 12-12 0 0,1 1 0 0 0,-1 1 0 0 0,32-12 0 0 0,-47 20-23 0 0,0 1-1 0 0,1 0 1 0 0,-1 0-1 0 0,0-1 0 0 0,1 1 1 0 0,-1 0-1 0 0,1 0 1 0 0,-1 0-1 0 0,0 0 0 0 0,1 0 1 0 0,-1 0-1 0 0,1-1 1 0 0,-1 1-1 0 0,0 0 0 0 0,1 0 1 0 0,-1 0-1 0 0,1 0 1 0 0,-1 1-1 0 0,0-1 1 0 0,1 0-1 0 0,-1 0 0 0 0,1 0 1 0 0,-1 0-1 0 0,0 0 1 0 0,1 0-1 0 0,-1 1 0 0 0,0-1 1 0 0,1 0-1 0 0,-1 0 1 0 0,0 0-1 0 0,1 1 0 0 0,-1-1 1 0 0,0 0-1 0 0,1 1 1 0 0,-1-1-1 0 0,0 0 1 0 0,0 0-1 0 0,1 1 0 0 0,-1-1 1 0 0,0 1-1 0 0,0-1 1 0 0,0 0-1 0 0,1 1 0 0 0,-1-1 1 0 0,0 0-1 0 0,0 1 1 0 0,0-1-1 0 0,0 1 1 0 0,-4 21 2 0 0,-1-13 29 0 0,1 0 0 0 0,-2-1 1 0 0,1 1-1 0 0,-1-1 0 0 0,-14 14 0 0 0,8-8-7 0 0,-144 156 136 0 0,153-167-151 0 0,2-2-3 0 0,-1 0-1 0 0,1 1 1 0 0,0-1 0 0 0,0 1 0 0 0,-1-1 0 0 0,1 1-1 0 0,0 0 1 0 0,0-1 0 0 0,0 1 0 0 0,0 0 0 0 0,1 0-1 0 0,-1 0 1 0 0,1-1 0 0 0,-1 1 0 0 0,0 3 0 0 0,1-5-4 0 0,0 0 0 0 0,0 1-1 0 0,0-1 1 0 0,0 0 0 0 0,0 0 0 0 0,0 0 0 0 0,0 0 0 0 0,0 0 0 0 0,0 0 0 0 0,0 0 0 0 0,1 1 0 0 0,-1-1 0 0 0,0 0 0 0 0,0 0 0 0 0,0 0-1 0 0,0 0 1 0 0,0 0 0 0 0,0 0 0 0 0,0 0 0 0 0,0 0 0 0 0,0 0 0 0 0,0 0 0 0 0,1 1 0 0 0,-1-1 0 0 0,0 0 0 0 0,0 0 0 0 0,0 0 0 0 0,0 0-1 0 0,0 0 1 0 0,0 0 0 0 0,0 0 0 0 0,0 0 0 0 0,1 0 0 0 0,-1 0 0 0 0,0 0 0 0 0,0 0 0 0 0,0 0 0 0 0,0 0 0 0 0,0 0 0 0 0,0 0 0 0 0,1 0-1 0 0,-1 0 1 0 0,0 0 0 0 0,0 0 0 0 0,0 0 0 0 0,0 0 0 0 0,0-1 0 0 0,0 1 0 0 0,0 0 0 0 0,0 0 0 0 0,1 0 0 0 0,9-1-33 0 0,1 0 1 0 0,0 0-1 0 0,-1-1 1 0 0,0-1-1 0 0,14-4 1 0 0,55-25 55 0 0,-39 15 23 0 0,-6 2-30 0 0,28-11 29 0 0,-54 23-47 0 0,0 1 0 0 0,0 0 0 0 0,0 0 0 0 0,0 1-1 0 0,13-1 1 0 0,-21 2-1 0 0,1 0-1 0 0,-1 0 0 0 0,0 0 1 0 0,1 0-1 0 0,-1 0 0 0 0,0 0 1 0 0,1 0-1 0 0,-1 1 0 0 0,0-1 1 0 0,1 0-1 0 0,-1 0 1 0 0,0 0-1 0 0,1 1 0 0 0,-1-1 1 0 0,0 0-1 0 0,0 0 0 0 0,1 1 1 0 0,-1-1-1 0 0,0 0 0 0 0,0 1 1 0 0,0-1-1 0 0,1 0 0 0 0,-1 1 1 0 0,0-1-1 0 0,0 0 1 0 0,0 1-1 0 0,0-1 0 0 0,0 1 1 0 0,2 15-9 0 0,-5 17 110 0 0,0-23-76 0 0,0 0 0 0 0,-1-1 0 0 0,0 1 0 0 0,-1 0 0 0 0,0-1 0 0 0,0 0 1 0 0,-8 10-1 0 0,4-6 1 0 0,1 0-1 0 0,-11 22 1 0 0,19-35-22 0 0,0 0 0 0 0,0 0 0 0 0,0 1 0 0 0,0-1-1 0 0,0 0 1 0 0,0 0 0 0 0,0 0 0 0 0,0 0 0 0 0,0 0-1 0 0,0 1 1 0 0,0-1 0 0 0,0 0 0 0 0,0 0 0 0 0,0 0-1 0 0,1 0 1 0 0,-1 0 0 0 0,0 0 0 0 0,0 1 0 0 0,0-1-1 0 0,0 0 1 0 0,0 0 0 0 0,0 0 0 0 0,0 0 0 0 0,0 0-1 0 0,0 0 1 0 0,0 0 0 0 0,1 1 0 0 0,-1-1-1 0 0,0 0 1 0 0,0 0 0 0 0,0 0 0 0 0,0 0 0 0 0,0 0-1 0 0,0 0 1 0 0,1 0 0 0 0,-1 0 0 0 0,0 0 0 0 0,0 0-1 0 0,0 0 1 0 0,0 0 0 0 0,0 0 0 0 0,1 0 0 0 0,-1 0-1 0 0,0 0 1 0 0,0 0 0 0 0,0 0 0 0 0,0 0 0 0 0,0 0-1 0 0,1 0 1 0 0,-1 0 0 0 0,0 0 0 0 0,0 0 0 0 0,0 0-1 0 0,0 0 1 0 0,1 0 0 0 0,12-4-71 0 0,33-15 25 0 0,76-42 0 0 0,-75 35 113 0 0,85-33 0 0 0,-126 56-82 0 0,-1 1-1 0 0,1 1 1 0 0,0-1-1 0 0,0 1 1 0 0,13-1-1 0 0,-19 2 12 0 0,1 0 0 0 0,-1 1 0 0 0,1-1 1 0 0,-1 0-1 0 0,1 0 0 0 0,-1 1 0 0 0,0-1 0 0 0,1 0 0 0 0,-1 0 0 0 0,1 1 1 0 0,-1-1-1 0 0,0 0 0 0 0,1 1 0 0 0,-1-1 0 0 0,0 1 0 0 0,1-1 0 0 0,-1 0 1 0 0,0 1-1 0 0,0-1 0 0 0,1 1 0 0 0,-1-1 0 0 0,0 1 0 0 0,0-1 0 0 0,0 1 1 0 0,1-1-1 0 0,-1 1 0 0 0,0-1 0 0 0,0 1 0 0 0,0-1 0 0 0,0 1 0 0 0,0-1 1 0 0,0 1-1 0 0,-1 23 98 0 0,1-16-77 0 0,0 12 48 0 0,-6 36 1 0 0,5-29-42 0 0,2-27-29 0 0,0 1 0 0 0,0-1 1 0 0,0 0-1 0 0,0 1 1 0 0,1-1-1 0 0,-1 0 0 0 0,0 1 1 0 0,0-1-1 0 0,0 0 0 0 0,0 0 1 0 0,0 0-1 0 0,0 0 0 0 0,0 0 1 0 0,1 0-1 0 0,-1 0 1 0 0,0 0-1 0 0,0-1 0 0 0,2 1 1 0 0,-1-1-7 0 0,11-1-3 0 0,0-1 0 0 0,0 0 1 0 0,-1-1-1 0 0,1 0 0 0 0,17-10 0 0 0,63-38 115 0 0,-53 29-79 0 0,-22 12 3 0 0,-13 7-27 0 0,0 1-1 0 0,0 0 1 0 0,1 0 0 0 0,10-4-1 0 0,-15 12-29 0 0,-2 0 42 0 0,0 0 0 0 0,0-1 0 0 0,-1 1 0 0 0,1 0 0 0 0,-1-1 0 0 0,0 1 0 0 0,-1-1 0 0 0,1 0 0 0 0,-1 0 0 0 0,0 0 0 0 0,0 0 0 0 0,-4 5-1 0 0,2-4-1 0 0,1 0 0 0 0,0 1 0 0 0,0-1 0 0 0,1 1 0 0 0,0 0 0 0 0,0 0 0 0 0,-4 10-1 0 0,7-16-8 0 0,0 0-1 0 0,1 0 0 0 0,-1 1 1 0 0,0-1-1 0 0,0 0 0 0 0,0 0 0 0 0,0 0 1 0 0,0 1-1 0 0,0-1 0 0 0,0 0 1 0 0,0 0-1 0 0,0 0 0 0 0,0 1 1 0 0,1-1-1 0 0,-1 0 0 0 0,0 0 0 0 0,0 0 1 0 0,0 0-1 0 0,0 1 0 0 0,1-1 1 0 0,-1 0-1 0 0,0 0 0 0 0,0 0 0 0 0,0 0 1 0 0,1 0-1 0 0,-1 0 0 0 0,0 0 1 0 0,0 1-1 0 0,0-1 0 0 0,1 0 0 0 0,-1 0 1 0 0,0 0-1 0 0,0 0 0 0 0,1 0 1 0 0,-1 0-1 0 0,0 0 0 0 0,0 0 0 0 0,0 0 1 0 0,1 0-1 0 0,-1 0 0 0 0,0 0 1 0 0,0-1-1 0 0,1 1 0 0 0,-1 0 1 0 0,0 0-1 0 0,0 0 0 0 0,1 0 0 0 0,14-4-89 0 0,12-7 88 0 0,-1-2-1 0 0,38-22 1 0 0,-18 8 98 0 0,-45 27-100 0 0,-1-1 1 0 0,1 1-1 0 0,-1-1 0 0 0,1 1 0 0 0,0 0 0 0 0,-1-1 0 0 0,1 1 0 0 0,-1 0 0 0 0,1 0 0 0 0,0-1 0 0 0,-1 1 0 0 0,1 0 0 0 0,0 0 1 0 0,0 0-1 0 0,-1 0 0 0 0,1 0 0 0 0,0 0 0 0 0,-1 0 0 0 0,2 0 0 0 0,0 11-91 0 0,-2-7 130 0 0,0 1-21 0 0,-1 0 0 0 0,0 0 0 0 0,0-1-1 0 0,0 1 1 0 0,0 0 0 0 0,-1-1 0 0 0,0 1-1 0 0,0-1 1 0 0,0 0 0 0 0,-4 7 0 0 0,-5 5 13 0 0,-18 20 0 0 0,9-11-5 0 0,11-13-14 0 0,4-7-2 0 0,1 0-1 0 0,0 0 1 0 0,0 1 0 0 0,0-1-1 0 0,1 1 1 0 0,0 0-1 0 0,0 0 1 0 0,1 1 0 0 0,-3 6-1 0 0,5-10-9 0 0,0 1-32 0 0,9-3-20 0 0,3-3 33 0 0,1 0 0 0 0,-1-1 0 0 0,0-1-1 0 0,0 0 1 0 0,15-7 0 0 0,61-34 6 0 0,-69 34 13 0 0,-15 9 0 0 0,0 0 0 0 0,0 0-1 0 0,0 1 1 0 0,0-1 0 0 0,1 1-1 0 0,4-1 1 0 0,-9 2 0 0 0,0 0 0 0 0,0 0 0 0 0,0 0 0 0 0,1 1 0 0 0,-1-1 0 0 0,0 0 0 0 0,0 0 0 0 0,0 0-1 0 0,0 1 1 0 0,1-1 0 0 0,-1 0 0 0 0,0 0 0 0 0,0 1 0 0 0,0-1 0 0 0,0 0 0 0 0,0 0 0 0 0,0 0 0 0 0,0 1 0 0 0,0-1 0 0 0,1 0 0 0 0,-1 0 0 0 0,0 1 0 0 0,0-1 0 0 0,0 0 0 0 0,0 1 0 0 0,0-1-1 0 0,-1 0 1 0 0,1 0 0 0 0,0 1 0 0 0,0-1 0 0 0,0 0 0 0 0,0 1 0 0 0,0 1-9 0 0,-1 6 30 0 0,1 0 0 0 0,-2 0 0 0 0,1 1 0 0 0,-1-1 0 0 0,0 0 0 0 0,-1 0 0 0 0,0-1 0 0 0,0 1 0 0 0,-1-1 0 0 0,0 1 0 0 0,-6 7 0 0 0,5-6-3 0 0,4-8-11 0 0,0 1-1 0 0,-1-1 0 0 0,1 1 1 0 0,0 0-1 0 0,1-1 1 0 0,-1 1-1 0 0,0 0 1 0 0,0 0-1 0 0,1 0 0 0 0,-1 0 1 0 0,1 0-1 0 0,-1 2 1 0 0,1-3-3 0 0,1 2-16 0 0,5-4-32 0 0,-3 0 30 0 0,25-11-5 0 0,0 0-1 0 0,-1-2 0 0 0,-1-1 1 0 0,31-23-1 0 0,20-11 63 0 0,-62 42-62 0 0,-15 7 21 0 0,0 0 1 0 0,0 0 0 0 0,0 0-1 0 0,1 0 1 0 0,-1 0-1 0 0,0 0 1 0 0,0 0-1 0 0,0 0 1 0 0,0 0-1 0 0,0 0 1 0 0,1 0-1 0 0,-1 0 1 0 0,0 0-1 0 0,0 0 1 0 0,0 0 0 0 0,0 0-1 0 0,0 0 1 0 0,0 0-1 0 0,1 1 1 0 0,-1-1-1 0 0,0 0 1 0 0,0 0-1 0 0,0 0 1 0 0,0 0-1 0 0,0 0 1 0 0,0 0-1 0 0,0 0 1 0 0,0 1-1 0 0,0-1 1 0 0,0 0 0 0 0,1 0-1 0 0,-1 0 1 0 0,0 0-1 0 0,0 0 1 0 0,0 1-1 0 0,0-1 1 0 0,0 0-1 0 0,0 0 1 0 0,0 0-1 0 0,0 0 1 0 0,0 0-1 0 0,0 1 1 0 0,0-1 0 0 0,0 0-1 0 0,0 0 1 0 0,0 0-1 0 0,0 0 1 0 0,-1 0-1 0 0,1 1 1 0 0,0-1-1 0 0,0 0 1 0 0,0 0-1 0 0,0 0 1 0 0,0 0-1 0 0,0 3-10 0 0,-1 3 33 0 0,0 0 1 0 0,0 0 0 0 0,0 0 0 0 0,0 0 0 0 0,-1 0 0 0 0,0 0 0 0 0,-1-1 0 0 0,1 1 0 0 0,-1 0 0 0 0,-4 5 0 0 0,-43 57 116 0 0,23-33-115 0 0,24-31-17 0 0,0 0-4 0 0,1-1 0 0 0,-1 0 0 0 0,1 1 1 0 0,-1 0-1 0 0,1 0 0 0 0,0-1 0 0 0,1 1 0 0 0,-1 0 0 0 0,1 1 0 0 0,0-1 1 0 0,-2 8-1 0 0,4-12-12 0 0,-1 1 0 0 0,1-1 0 0 0,0 0 0 0 0,-1 0 0 0 0,1 1 0 0 0,0-1 0 0 0,0 0 0 0 0,-1 0 1 0 0,1 0-1 0 0,0 0 0 0 0,-1 0 0 0 0,1 0 0 0 0,0 0 0 0 0,0-1 0 0 0,-1 1 0 0 0,1 0 0 0 0,0 0 0 0 0,0-1 1 0 0,0 1-7 0 0,17-5-59 0 0,0-1 1 0 0,-1-1-1 0 0,1 0 1 0 0,23-16-1 0 0,0 2 88 0 0,-37 19-21 0 0,-3 1 2 0 0,0 1 0 0 0,-1-1 0 0 0,1 1 0 0 0,0 0 0 0 0,0-1 0 0 0,-1 1 0 0 0,1 0 0 0 0,0-1 0 0 0,0 1 1 0 0,0 0-1 0 0,-1 0 0 0 0,1 0 0 0 0,0 0 0 0 0,0 0 0 0 0,1 0 0 0 0,-2 15-6 0 0,0 73 400 0 0,0-88-388 0 0,2 6-14 0 0,7-6-15 0 0,1-1 18 0 0,-1-1-1 0 0,0-1 1 0 0,0 0-1 0 0,0 0 1 0 0,0 0-1 0 0,-1-1 1 0 0,12-7 0 0 0,61-42-5 0 0,-61 39-16 0 0,28-18-18 0 0,-47 40-88 0 0,-2-2 150 0 0,1-1 0 0 0,-1 0-1 0 0,0 0 1 0 0,0 0-1 0 0,0 0 1 0 0,-1 0-1 0 0,0 0 1 0 0,-3 6 0 0 0,-25 40 30 0 0,23-42-34 0 0,1 1 0 0 0,0-1-1 0 0,1 1 1 0 0,0 1 0 0 0,0-1 0 0 0,-5 19-1 0 0,10-27-16 0 0,0-3 9 0 0,0 1 0 0 0,0 0 0 0 0,0 0-1 0 0,0 0 1 0 0,1 0 0 0 0,-1 0-1 0 0,0 0 1 0 0,0 0 0 0 0,0 0 0 0 0,0 0-1 0 0,0 0 1 0 0,0 0 0 0 0,0 0 0 0 0,1 0-1 0 0,-1 0 1 0 0,0 0 0 0 0,0 0-1 0 0,0 0 1 0 0,0 0 0 0 0,0 0 0 0 0,0 0-1 0 0,0 0 1 0 0,1 0 0 0 0,-1 0-1 0 0,0 0 1 0 0,0 0 0 0 0,0 0 0 0 0,0 0-1 0 0,0 0 1 0 0,0 0 0 0 0,0 0-1 0 0,1 0 1 0 0,-1 0 0 0 0,0 0 0 0 0,0 0-1 0 0,0 0 1 0 0,0 1 0 0 0,0-1-1 0 0,0 0 1 0 0,0 0 0 0 0,0 0 0 0 0,0 0-1 0 0,0 0 1 0 0,0 0 0 0 0,0 0-1 0 0,1 0 1 0 0,-1 1 0 0 0,0-1 0 0 0,0 0-1 0 0,0 0 1 0 0,0 0 0 0 0,0 0-1 0 0,0 0 1 0 0,0 0 0 0 0,0 0 0 0 0,0 1-1 0 0,0-1 1 0 0,0 0 0 0 0,0 0-1 0 0,0 0 1 0 0,0 0 0 0 0,0 0 0 0 0,-1 0-1 0 0,1 1 1 0 0,11-5-65 0 0,0 0 1 0 0,0-1-1 0 0,0 0 1 0 0,18-13-1 0 0,43-34 29 0 0,-46 32 23 0 0,-26 20 10 0 0,0 0 1 0 0,0 0-1 0 0,0-1 0 0 0,1 1 1 0 0,-1 0-1 0 0,0 0 0 0 0,0-1 0 0 0,1 1 1 0 0,-1 0-1 0 0,0 0 0 0 0,1 0 0 0 0,-1 0 1 0 0,0 0-1 0 0,1-1 0 0 0,-1 1 0 0 0,0 0 1 0 0,1 0-1 0 0,-1 0 0 0 0,0 0 0 0 0,1 0 1 0 0,-1 0-1 0 0,0 0 0 0 0,1 0 1 0 0,-1 0-1 0 0,0 0 0 0 0,1 0 0 0 0,-1 0 1 0 0,0 0-1 0 0,1 0 0 0 0,-1 1 0 0 0,0-1 1 0 0,0 0-1 0 0,1 0 0 0 0,-1 0 0 0 0,0 0 1 0 0,1 1-1 0 0,-1-1 0 0 0,0 0 0 0 0,0 0 1 0 0,1 0-1 0 0,-1 1 0 0 0,1 1 7 0 0,-1-1-1 0 0,1 1 1 0 0,-1-1-1 0 0,1 1 1 0 0,-1-1-1 0 0,0 1 1 0 0,0 0 0 0 0,1-1-1 0 0,-2 4 1 0 0,1 2 42 0 0,-1 0 1 0 0,0 0-1 0 0,0 0 1 0 0,-4 10-1 0 0,-17 32 112 0 0,13-30-95 0 0,0 0 0 0 0,1 1 1 0 0,-7 29-1 0 0,15-49-64 0 0,0 1 0 0 0,0-1 1 0 0,0 0-1 0 0,0 1 0 0 0,-1-1 0 0 0,1 1 0 0 0,0-1 1 0 0,0 1-1 0 0,0-1 0 0 0,0 1 0 0 0,0-1 1 0 0,1 1-1 0 0,-1-1 0 0 0,0 1 0 0 0,0-1 1 0 0,0 1-1 0 0,0-1 0 0 0,0 1 0 0 0,1-1 1 0 0,-1 1-1 0 0,0-1 0 0 0,0 1 0 0 0,1-1 1 0 0,-1 0-1 0 0,0 1 0 0 0,1-1 0 0 0,-1 1 1 0 0,0-1-1 0 0,1 0 0 0 0,-1 0 0 0 0,1 1 0 0 0,-1-1 1 0 0,0 0-1 0 0,1 1 0 0 0,0-1 0 0 0,1 0-3 0 0,-1 1-1 0 0,1-1 1 0 0,0 0-1 0 0,0 0 1 0 0,0 0-1 0 0,0 0 0 0 0,0 0 1 0 0,-1-1-1 0 0,1 1 1 0 0,2-1-1 0 0,6-2-6 0 0,-1 0 1 0 0,16-8-1 0 0,16-14 22 0 0,5-2 41 0 0,-45 27-52 0 0,-1 0 1 0 0,0 0-1 0 0,0 0 0 0 0,0 0 0 0 0,1-1 1 0 0,-1 1-1 0 0,0 0 0 0 0,0 0 0 0 0,0 0 1 0 0,0 0-1 0 0,1 0 0 0 0,-1 0 1 0 0,0 0-1 0 0,0 0 0 0 0,0 0 0 0 0,1 1 1 0 0,-1-1-1 0 0,0 0 0 0 0,0 0 0 0 0,0 0 1 0 0,0 0-1 0 0,1 0 0 0 0,-1 0 1 0 0,0 0-1 0 0,0 0 0 0 0,0 0 0 0 0,0 1 1 0 0,1-1-1 0 0,-1 0 0 0 0,0 0 0 0 0,0 0 1 0 0,0 0-1 0 0,0 0 0 0 0,0 1 0 0 0,0-1 1 0 0,0 0-1 0 0,0 0 0 0 0,1 0 1 0 0,-1 0-1 0 0,0 1 0 0 0,2 12 29 0 0,-4 15 49 0 0,0-18-43 0 0,0 0 1 0 0,-1 0-1 0 0,-6 13 1 0 0,6-15-22 0 0,0 0 1 0 0,0 0 0 0 0,1 0 0 0 0,0 0 0 0 0,1 0 0 0 0,-1 9 0 0 0,1-17-15 0 0,1 0 1 0 0,0 1 0 0 0,0-1 0 0 0,0 0 0 0 0,1 0-1 0 0,-1 0 1 0 0,0 0 0 0 0,0 1 0 0 0,0-1 0 0 0,0 0-1 0 0,0 0 1 0 0,0 0 0 0 0,0 0 0 0 0,0 0 0 0 0,0 0-1 0 0,0 1 1 0 0,0-1 0 0 0,0 0 0 0 0,0 0 0 0 0,0 0-1 0 0,1 0 1 0 0,-1 0 0 0 0,0 0 0 0 0,0 0 0 0 0,0 1-1 0 0,0-1 1 0 0,0 0 0 0 0,0 0 0 0 0,1 0 0 0 0,-1 0-1 0 0,0 0 1 0 0,0 0 0 0 0,0 0 0 0 0,0 0 0 0 0,0 0-1 0 0,1 0 1 0 0,-1 0 0 0 0,0 0 0 0 0,0 0 0 0 0,0 0-1 0 0,0 0 1 0 0,1 0 0 0 0,-1 0 0 0 0,0 0 0 0 0,10-3-37 0 0,7-5 4 0 0,-1-1 0 0 0,1-1 0 0 0,26-21 0 0 0,47-44-16 0 0,-60 48-23 0 0,-19 17 74 0 0,-9 9-18 0 0,-2 3 8 0 0,-1 5 33 0 0,1-1 0 0 0,-1 1 0 0 0,0-1-1 0 0,-1 1 1 0 0,1-1 0 0 0,-1 0 0 0 0,-4 8-1 0 0,-23 42 39 0 0,-2 3-51 0 0,28-53-6 0 0,1 1 0 0 0,-1-1 0 0 0,2 1 0 0 0,-1 0 0 0 0,1 0 0 0 0,0 0 0 0 0,0 9 0 0 0,5-15-62 0 0,2-2 31 0 0,0 0 1 0 0,0 0 0 0 0,-1 0 0 0 0,1-1 0 0 0,-1 0-1 0 0,1 0 1 0 0,-1 0 0 0 0,1-1 0 0 0,8-5 0 0 0,48-37-35 0 0,-46 33 66 0 0,9-10-39 0 0,-19 17 13 0 0,-1 0 1 0 0,0 0-1 0 0,1 1 0 0 0,0-1 1 0 0,0 1-1 0 0,0 1 0 0 0,0-1 1 0 0,8-2-1 0 0,-13 15-34 0 0,-2 6 102 0 0,-1 1 1 0 0,-1-1-1 0 0,0 0 1 0 0,-1-1-1 0 0,-1 1 1 0 0,-11 25-1 0 0,13-35-49 0 0,0 4 9 0 0,0 0 0 0 0,0 0-1 0 0,1 1 1 0 0,0-1 0 0 0,0 1-1 0 0,1-1 1 0 0,0 13 0 0 0,7-21-76 0 0,-1-1 54 0 0,1-1 0 0 0,0 0 0 0 0,0-1 0 0 0,-1 1 0 0 0,1-1-1 0 0,-1 0 1 0 0,1-1 0 0 0,-1 1 0 0 0,7-6 0 0 0,8-5-25 0 0,19-18-1 0 0,-24 18-23 0 0,1 1 0 0 0,22-13-1 0 0,-37 25 56 0 0,1-1-22 0 0,-1 7-7 0 0,-1-6 35 0 0,0 10 39 0 0,0-1 0 0 0,-1 1 0 0 0,0-1 0 0 0,0 0 0 0 0,-1 0-1 0 0,-5 16 1 0 0,0-8-14 0 0,3-7-22 0 0,-1 1 1 0 0,2-1-1 0 0,-1 1 0 0 0,1-1 1 0 0,1 1-1 0 0,-2 21 0 0 0,7-31-55 0 0,4-1 39 0 0,0-1 1 0 0,0 0-1 0 0,0 0 1 0 0,0 0-1 0 0,0-1 1 0 0,-1 0-1 0 0,9-4 1 0 0,45-26 91 0 0,-32 17-32 0 0,-28 14-47 0 0,0 1 0 0 0,1 0 0 0 0,-1 0 0 0 0,0 0-1 0 0,0 0 1 0 0,1 0 0 0 0,-1 0 0 0 0,0-1 0 0 0,0 1 0 0 0,1 0 0 0 0,-1 0 0 0 0,0 0-1 0 0,0 0 1 0 0,1 0 0 0 0,-1 0 0 0 0,0 0 0 0 0,0 0 0 0 0,1 0 0 0 0,-1 0 0 0 0,0 0-1 0 0,1 0 1 0 0,-1 0 0 0 0,0 1 0 0 0,0-1 0 0 0,1 0 0 0 0,-1 0 0 0 0,0 0 0 0 0,0 0-1 0 0,0 0 1 0 0,1 0 0 0 0,-1 1 0 0 0,0-1 0 0 0,0 0 0 0 0,4 11 28 0 0,-5 21 162 0 0,1-26-119 0 0,-2 6-4 0 0,1 0-1 0 0,-8 23 1 0 0,6-25-65 0 0,1 0-1 0 0,-1 1 1 0 0,2-1 0 0 0,-1 14-1 0 0,2-23-4 0 0,0 0-1 0 0,1-1 1 0 0,-1 1 0 0 0,0-1-1 0 0,1 1 1 0 0,-1-1-1 0 0,1 1 1 0 0,-1-1-1 0 0,1 1 1 0 0,-1-1 0 0 0,1 0-1 0 0,-1 1 1 0 0,1-1-1 0 0,0 1 1 0 0,-1-1-1 0 0,1 0 1 0 0,-1 0 0 0 0,1 0-1 0 0,0 1 1 0 0,-1-1-1 0 0,1 0 1 0 0,0 0 0 0 0,-1 0-1 0 0,1 0 1 0 0,0 0-1 0 0,-1 0 1 0 0,1 0-1 0 0,0 0 1 0 0,-1 0 0 0 0,1 0-1 0 0,1-1 1 0 0,22-2-140 0 0,-15 0 122 0 0,0-1 0 0 0,-1 1 0 0 0,1-2 1 0 0,13-8-1 0 0,-15 8 18 0 0,0 1 0 0 0,0 0 0 0 0,1 0 0 0 0,0 1 0 0 0,0 0 1 0 0,11-3-1 0 0,-18 5 1 0 0,-1 1-1 0 0,0 0 1 0 0,1 0 0 0 0,-1 0 0 0 0,0 0 0 0 0,1 0 0 0 0,-1 0-1 0 0,1 0 1 0 0,-1 0 0 0 0,0 0 0 0 0,1 1 0 0 0,-1-1 0 0 0,0 0 0 0 0,1 0-1 0 0,-1 0 1 0 0,0 0 0 0 0,1 0 0 0 0,-1 1 0 0 0,0-1 0 0 0,1 0-1 0 0,-1 0 1 0 0,0 0 0 0 0,1 1 0 0 0,-1-1 0 0 0,0 0 0 0 0,0 1 0 0 0,1-1-1 0 0,-1 0 1 0 0,0 0 0 0 0,0 1 0 0 0,0-1 0 0 0,1 0 0 0 0,-1 1 0 0 0,0-1-1 0 0,0 1 1 0 0,0-1 0 0 0,0 1 0 0 0,1 16 6 0 0,-1-12 23 0 0,-1 16 146 0 0,3 41 61 0 0,-2-57-232 0 0,1-1 1 0 0,-1 1-1 0 0,1-1 1 0 0,1 0-1 0 0,-1 1 1 0 0,0-1-1 0 0,1 0 1 0 0,0 0-1 0 0,0 0 1 0 0,5 7 0 0 0,-5-9-7 0 0,0 0 0 0 0,1 0 1 0 0,-1-1-1 0 0,1 1 0 0 0,-1-1 1 0 0,1 1-1 0 0,-1-1 1 0 0,1 0-1 0 0,0 0 0 0 0,0 0 1 0 0,0-1-1 0 0,-1 1 0 0 0,1 0 1 0 0,0-1-1 0 0,0 0 1 0 0,3 0-1 0 0,3 0-39 0 0,0 0-1 0 0,1 0 1 0 0,14-4-1 0 0,-16 2 49 0 0,0-1 1 0 0,0 0-1 0 0,-1 0 0 0 0,1-1 0 0 0,-1 0 0 0 0,11-9 0 0 0,-8 7-5 0 0,0 0 1 0 0,16-7-1 0 0,-26 13-1 0 0,1 0 1 0 0,-1 0-1 0 0,1 0 0 0 0,-1 0 1 0 0,1 0-1 0 0,-1 0 0 0 0,1 0 1 0 0,-1 0-1 0 0,0 0 0 0 0,1 1 0 0 0,-1-1 1 0 0,1 0-1 0 0,-1 0 0 0 0,1 0 1 0 0,-1 1-1 0 0,1-1 0 0 0,-1 0 1 0 0,0 1-1 0 0,1-1 0 0 0,-1 0 1 0 0,0 1-1 0 0,1-1 0 0 0,-1 0 1 0 0,0 1-1 0 0,1-1 0 0 0,-1 1 0 0 0,0-1 1 0 0,0 1-1 0 0,0-1 0 0 0,1 1 1 0 0,-1-1-1 0 0,0 1 0 0 0,0-1 1 0 0,0 0-1 0 0,0 1 0 0 0,0-1 1 0 0,0 2-1 0 0,6 27 241 0 0,-5-18-182 0 0,0-8-50 0 0,1 6 6 0 0,0-1 1 0 0,0 1-1 0 0,1-1 1 0 0,7 15-1 0 0,-9-21-17 0 0,0 0-1 0 0,1 0 1 0 0,-1 0-1 0 0,1 0 1 0 0,-1 0 0 0 0,1-1-1 0 0,-1 1 1 0 0,1-1-1 0 0,0 1 1 0 0,0-1 0 0 0,0 0-1 0 0,0 0 1 0 0,0 0-1 0 0,0 0 1 0 0,0 0-1 0 0,0 0 1 0 0,0 0 0 0 0,0-1-1 0 0,1 1 1 0 0,-1-1-1 0 0,0 1 1 0 0,1-1 0 0 0,2 0-1 0 0,6 0 34 0 0,15 1 41 0 0,-25-1-73 0 0,0 0 0 0 0,0 0 0 0 0,0 1 0 0 0,-1-1 0 0 0,1 0 0 0 0,0 1 0 0 0,0-1 1 0 0,0 1-1 0 0,0-1 0 0 0,0 1 0 0 0,-1 0 0 0 0,1-1 0 0 0,0 1 0 0 0,-1 0 0 0 0,1 0 0 0 0,0-1 0 0 0,-1 1 1 0 0,1 0-1 0 0,-1 0 0 0 0,1 0 0 0 0,-1 0 0 0 0,1 1 0 0 0,8 27 94 0 0,7 37-1 0 0,-11-42-69 0 0,1 0-1 0 0,16 42 1 0 0,-21-64-18 0 0,2 6-1 0 0,1 0-1 0 0,-1 0 1 0 0,1-1-1 0 0,0 0 0 0 0,1 0 1 0 0,0 0-1 0 0,0 0 1 0 0,10 8-1 0 0,-14-14-4 0 0,0 0 0 0 0,0 0 0 0 0,0 0 1 0 0,0 0-1 0 0,0-1 0 0 0,1 1 0 0 0,-1-1 0 0 0,0 1 0 0 0,1-1 1 0 0,-1 1-1 0 0,0-1 0 0 0,1 0 0 0 0,-1 0 0 0 0,0 1 0 0 0,1-1 1 0 0,-1 0-1 0 0,0 0 0 0 0,1 0 0 0 0,-1-1 0 0 0,1 1 0 0 0,-1 0 1 0 0,0 0-1 0 0,1-1 0 0 0,-1 1 0 0 0,0-1 0 0 0,0 1 0 0 0,1-1 1 0 0,-1 0-1 0 0,0 1 0 0 0,0-1 0 0 0,0 0 0 0 0,2-1 0 0 0,2-3-41 0 0,-1 0-1 0 0,1-1 1 0 0,-1 1 0 0 0,0-1-1 0 0,4-8 1 0 0,9-12-447 0 0,-14 63 547 0 0,-3-8 137 0 0,-1-7-162 0 0,1 0 0 0 0,1 0 0 0 0,0 0 1 0 0,2 0-1 0 0,1-1 0 0 0,8 30 0 0 0,-11-50-32 0 0,-1 1 0 0 0,1-1 0 0 0,-1 1 0 0 0,1-1-1 0 0,0 1 1 0 0,-1-1 0 0 0,1 1 0 0 0,0-1 0 0 0,0 0 0 0 0,0 0 0 0 0,0 1 0 0 0,0-1 0 0 0,0 0 0 0 0,1 0 0 0 0,-1 0 0 0 0,0 0 0 0 0,0 0 0 0 0,1-1 0 0 0,-1 1-1 0 0,1 0 1 0 0,-1 0 0 0 0,1-1 0 0 0,-1 1 0 0 0,1-1 0 0 0,-1 0 0 0 0,1 1 0 0 0,-1-1 0 0 0,1 0 0 0 0,-1 0 0 0 0,1 0 0 0 0,0 0 0 0 0,-1 0 0 0 0,1 0 0 0 0,-1 0-1 0 0,1-1 1 0 0,-1 1 0 0 0,1 0 0 0 0,-1-1 0 0 0,1 1 0 0 0,-1-1 0 0 0,1 0 0 0 0,-1 0 0 0 0,1 1 0 0 0,-1-1 0 0 0,0 0 0 0 0,0 0 0 0 0,1 0 0 0 0,-1 0 0 0 0,2-3-1 0 0,8-10 37 0 0,-1-1-1 0 0,16-29 0 0 0,-16 25-179 0 0,18-24 1 0 0,-28 42 137 0 0,1 0 1 0 0,0 0 0 0 0,0 0-1 0 0,-1 0 1 0 0,1 1 0 0 0,0-1-1 0 0,0 0 1 0 0,0 0 0 0 0,0 1 0 0 0,0-1-1 0 0,0 0 1 0 0,0 1 0 0 0,0-1-1 0 0,0 1 1 0 0,0-1 0 0 0,2 0-1 0 0,-2 1 2 0 0,0 0 0 0 0,0 1 0 0 0,-1-1 0 0 0,1 0 0 0 0,0 0 0 0 0,0 0 0 0 0,-1 0 0 0 0,1 1 0 0 0,0-1 0 0 0,-1 0 0 0 0,1 1 0 0 0,0-1 0 0 0,-1 0 0 0 0,1 1 0 0 0,0-1-1 0 0,-1 1 1 0 0,1-1 0 0 0,-1 1 0 0 0,2 1 0 0 0,1 3-1 0 0,1 0 0 0 0,-1 1 0 0 0,0-1 0 0 0,-1 1 0 0 0,3 7 0 0 0,1 1 101 0 0,42 102 129 0 0,-31-71-95 0 0,2 0 0 0 0,46 79 0 0 0,-59-115-129 0 0,1 0 0 0 0,0 0 0 0 0,16 16 0 0 0,-20-23-1 0 0,0 1 0 0 0,1 0 0 0 0,-1-1 0 0 0,0 0 0 0 0,1 0 0 0 0,-1 0 1 0 0,1 0-1 0 0,0-1 0 0 0,-1 1 0 0 0,1-1 0 0 0,0 0 0 0 0,0 0 1 0 0,0 0-1 0 0,6 0 0 0 0,-8-1 0 0 0,-1 0 0 0 0,1-1 0 0 0,-1 1 1 0 0,1-1-1 0 0,0 1 0 0 0,-1-1 0 0 0,1 0 0 0 0,-1 1 0 0 0,0-1 1 0 0,1 0-1 0 0,-1 0 0 0 0,0 0 0 0 0,1 0 0 0 0,-1 0 0 0 0,0 0 1 0 0,0 0-1 0 0,0-1 0 0 0,0 1 0 0 0,0 0 0 0 0,0-1 0 0 0,0 1 1 0 0,0-1-1 0 0,-1 1 0 0 0,1-1 0 0 0,0 1 0 0 0,-1-1 0 0 0,1 1 1 0 0,-1-4-1 0 0,3-5-82 0 0,-1 0 1 0 0,-1-1 0 0 0,1-12 0 0 0,-1 19 5 0 0,-1-9-67 0 0,2-10-97 0 0,-2 21 178 0 0,0 13 79 0 0,1 7 7 0 0,0 0-1 0 0,2-1 1 0 0,-1 1-1 0 0,2-1 1 0 0,1 0-1 0 0,0 0 1 0 0,1 0-1 0 0,8 17 1 0 0,-9-24 40 0 0,1 0-1 0 0,0 0 1 0 0,0-1 0 0 0,1 1-1 0 0,14 14 1 0 0,-20-23-61 0 0,1 0 1 0 0,-1 0-1 0 0,0 0 0 0 0,0 0 1 0 0,1 0-1 0 0,-1 0 0 0 0,0-1 1 0 0,1 1-1 0 0,-1 0 0 0 0,1-1 1 0 0,-1 1-1 0 0,1-1 0 0 0,-1 1 1 0 0,1-1-1 0 0,-1 0 0 0 0,1 0 0 0 0,-1 1 1 0 0,1-1-1 0 0,0 0 0 0 0,-1-1 1 0 0,1 1-1 0 0,-1 0 0 0 0,1 0 1 0 0,-1-1-1 0 0,1 1 0 0 0,-1-1 1 0 0,1 1-1 0 0,-1-1 0 0 0,2 0 1 0 0,1-2 3 0 0,0 0-1 0 0,-1 0 1 0 0,1 0 0 0 0,-1-1 0 0 0,0 1 0 0 0,0-1 0 0 0,0 0 0 0 0,3-5 0 0 0,-2 1-28 0 0,-3 6 12 0 0,-1 1 0 0 0,1-1 0 0 0,-1 1 0 0 0,1-1 0 0 0,0 1 1 0 0,0 0-1 0 0,0-1 0 0 0,0 1 0 0 0,0 0 0 0 0,0-1 0 0 0,0 1 1 0 0,0 0-1 0 0,0 0 0 0 0,1 0 0 0 0,-1 0 0 0 0,3-1 0 0 0,-3 5-102 0 0,4 8 160 0 0,6 18 127 0 0,2-1 0 0 0,28 47 0 0 0,-36-68-162 0 0,-1 0 0 0 0,1-1 0 0 0,1 1 0 0 0,-1-1-1 0 0,1 0 1 0 0,0 0 0 0 0,1-1 0 0 0,-1 0 0 0 0,1 0 0 0 0,0-1 0 0 0,0 1 0 0 0,0-2 0 0 0,1 1 0 0 0,0-1-1 0 0,13 4 1 0 0,40-4 19 0 0,-60-3-38 0 0,0 1 0 0 0,0-1 0 0 0,0 1 0 0 0,0-1 0 0 0,0 1 0 0 0,0 0 0 0 0,0-1 0 0 0,0 1 0 0 0,0 0 1 0 0,0 0-1 0 0,0 0 0 0 0,-1-1 0 0 0,1 1 0 0 0,0 0 0 0 0,0 0 0 0 0,0 2 0 0 0,9 18-5 0 0,-8-17 14 0 0,12 34 138 0 0,19 80 1 0 0,-23-76 39 0 0,-10-42-181 0 0,0 0 1 0 0,0 0-1 0 0,0 0 0 0 0,0 0 0 0 0,0 1 0 0 0,0-1 0 0 0,0 0 1 0 0,0 0-1 0 0,0 0 0 0 0,0 0 0 0 0,0 0 0 0 0,0 0 0 0 0,0 0 1 0 0,0 0-1 0 0,0 0 0 0 0,0 1 0 0 0,0-1 0 0 0,0 0 0 0 0,0 0 1 0 0,0 0-1 0 0,1 0 0 0 0,-1 0 0 0 0,0 0 0 0 0,0 0 1 0 0,0 0-1 0 0,0 0 0 0 0,0 0 0 0 0,0 1 0 0 0,0-1 0 0 0,0 0 1 0 0,0 0-1 0 0,0 0 0 0 0,0 0 0 0 0,0 0 0 0 0,1 0 0 0 0,-1 0 1 0 0,0 0-1 0 0,0 0 0 0 0,0 0 0 0 0,0 0 0 0 0,0 0 0 0 0,0 0 1 0 0,0 0-1 0 0,0 0 0 0 0,1 0 0 0 0,-1 0 0 0 0,0 0 0 0 0,0 0 1 0 0,0 0-1 0 0,0 0 0 0 0,0 0 0 0 0,0 0 0 0 0,0 0 0 0 0,0 0 1 0 0,0 0-1 0 0,1 0 0 0 0,-1 0 0 0 0,0 0 0 0 0,0 0 1 0 0,0 0-1 0 0,0-1 0 0 0,0 1 0 0 0,0 0 0 0 0,0 0 0 0 0,3-9-64 0 0,-3-7 33 0 0,0 9-16 0 0,1 1-1 0 0,-1-1 1 0 0,0 0 0 0 0,-1 0 0 0 0,1 1 0 0 0,-2-1-1 0 0,1 0 1 0 0,-1 1 0 0 0,1-1 0 0 0,-2 1-1 0 0,-4-11 1 0 0,1 8-71 0 0,-1 0 0 0 0,0 0-1 0 0,0 1 1 0 0,-16-13 0 0 0,20 18 129 0 0,0 1 0 0 0,1 0 1 0 0,-1 0-1 0 0,0 0 0 0 0,-1 0 1 0 0,1 1-1 0 0,0-1 0 0 0,0 1 1 0 0,-1 0-1 0 0,1 0 0 0 0,-1 0 1 0 0,1 0-1 0 0,-1 1 0 0 0,1-1 1 0 0,-1 1-1 0 0,1 0 0 0 0,-1 0 1 0 0,-6 1-1 0 0,8 0 10 0 0,0 0-1 0 0,0 0 1 0 0,0 0 0 0 0,0 1-1 0 0,1-1 1 0 0,-1 0 0 0 0,0 1-1 0 0,1-1 1 0 0,-1 1 0 0 0,1 0-1 0 0,0 0 1 0 0,-1-1-1 0 0,1 1 1 0 0,0 0 0 0 0,0 0-1 0 0,0 0 1 0 0,0 0 0 0 0,1 0-1 0 0,-1 1 1 0 0,0 3 0 0 0,-2 4-8 0 0,1 0 0 0 0,1 0 0 0 0,-1 11 0 0 0,1-4 3 0 0,-1 10-1 0 0,1 0 0 0 0,5 42 0 0 0,-4-68-15 0 0,0 0-1 0 0,0-1 1 0 0,0 1-1 0 0,0 0 1 0 0,0-1-1 0 0,1 1 1 0 0,-1 0-1 0 0,0-1 1 0 0,0 1-1 0 0,1-1 1 0 0,-1 1-1 0 0,0 0 1 0 0,1-1 0 0 0,-1 1-1 0 0,1-1 1 0 0,-1 1-1 0 0,1-1 1 0 0,-1 1-1 0 0,1-1 1 0 0,-1 0-1 0 0,1 1 1 0 0,-1-1-1 0 0,2 1 1 0 0,-2-1 1 0 0,1 0-1 0 0,-1 0 1 0 0,0 0 0 0 0,1 0 0 0 0,-1 0-1 0 0,1 0 1 0 0,-1 0 0 0 0,1-1 0 0 0,-1 1-1 0 0,0 0 1 0 0,1 0 0 0 0,-1 0-1 0 0,0 0 1 0 0,1-1 0 0 0,-1 1 0 0 0,1 0-1 0 0,-1 0 1 0 0,0-1 0 0 0,1 1 0 0 0,-1 0-1 0 0,0-1 1 0 0,0 1 0 0 0,1 0 0 0 0,-1-1-1 0 0,0 1 1 0 0,0-1 0 0 0,0 1-1 0 0,1 0 1 0 0,-1-1 0 0 0,0 1 0 0 0,0-1-1 0 0,0 1 1 0 0,0 0 0 0 0,0-1 0 0 0,0 1-1 0 0,0-1 1 0 0,4-18-34 0 0,-2 0 1 0 0,-1-1-1 0 0,-1-32 0 0 0,0 23-105 0 0,0 29 135 0 0,0-1 0 0 0,0 0 0 0 0,0 1 1 0 0,0-1-1 0 0,0 0 0 0 0,0 1 1 0 0,0-1-1 0 0,0 0 0 0 0,0 1 1 0 0,0-1-1 0 0,-1 0 0 0 0,1 1 1 0 0,0-1-1 0 0,0 1 0 0 0,-1-1 0 0 0,1 0 1 0 0,0 1-1 0 0,-1-1 0 0 0,1 1 1 0 0,-1-1-1 0 0,1 1 0 0 0,-1-1 1 0 0,1 1-1 0 0,-1 0 0 0 0,1-1 1 0 0,-1 1-1 0 0,1 0 0 0 0,-1-1 0 0 0,0 1 1 0 0,0 0 4 0 0,0 0 0 0 0,1 0 1 0 0,-1 0-1 0 0,1 0 0 0 0,-1 0 0 0 0,0 0 1 0 0,1 1-1 0 0,-1-1 0 0 0,1 0 1 0 0,-1 0-1 0 0,1 1 0 0 0,-1-1 0 0 0,1 0 1 0 0,-1 1-1 0 0,1-1 0 0 0,-1 1 1 0 0,1-1-1 0 0,-1 1 0 0 0,1-1 0 0 0,0 1 1 0 0,-1-1-1 0 0,1 1 0 0 0,0-1 1 0 0,-1 1-1 0 0,1-1 0 0 0,0 1 0 0 0,0-1 1 0 0,-1 1-1 0 0,1 0 0 0 0,0-1 1 0 0,0 1-1 0 0,0 0 0 0 0,-13 72 249 0 0,10-56-224 0 0,1 0 55 0 0,1 1 1 0 0,2 19-1 0 0,-1-7 223 0 0,0-29-270 0 0,0-5 141 0 0,1-22-67 0 0,0 14-109 0 0,-1-1 0 0 0,0 1 0 0 0,-1 0 0 0 0,0 0 0 0 0,-1 0 0 0 0,0 0 0 0 0,-6-18 0 0 0,-3 8-68 0 0,0 1 1 0 0,-1 0-1 0 0,-1 0 1 0 0,-20-24-1 0 0,-70-69-538 0 0,94 104 571 0 0,-1 1 1 0 0,0 0 0 0 0,-1 0 0 0 0,-17-10-1 0 0,23 17 53 0 0,-1-1 0 0 0,1 1 0 0 0,-1-1 0 0 0,1 1 0 0 0,-1 1 0 0 0,0-1 0 0 0,0 1 0 0 0,1 0-1 0 0,-1 1 1 0 0,0-1 0 0 0,0 1 0 0 0,-10 1 0 0 0,14-1-16 0 0,0 1 1 0 0,1-1-1 0 0,-1 1 0 0 0,1 0 0 0 0,-1-1 1 0 0,1 1-1 0 0,-1 0 0 0 0,1 0 1 0 0,0 0-1 0 0,-1 0 0 0 0,1 0 0 0 0,0 0 1 0 0,-1 0-1 0 0,1 0 0 0 0,0 1 1 0 0,0-1-1 0 0,0 0 0 0 0,0 1 1 0 0,1-1-1 0 0,-1 1 0 0 0,0-1 0 0 0,0 1 1 0 0,1-1-1 0 0,-1 1 0 0 0,1-1 1 0 0,0 1-1 0 0,-1 2 0 0 0,-1 6-6 0 0,1 0-1 0 0,0 0 0 0 0,1 15 0 0 0,0-17 19 0 0,0 5-26 0 0,-1-7 21 0 0,1-1-1 0 0,0 1 1 0 0,1 0 0 0 0,-1 0-1 0 0,2 6 1 0 0,-1-11-13 0 0,-1 0 1 0 0,0 0-1 0 0,1 0 1 0 0,-1 1-1 0 0,1-1 1 0 0,-1 0-1 0 0,1 0 0 0 0,0 0 1 0 0,-1 0-1 0 0,1-1 1 0 0,0 1-1 0 0,0 0 1 0 0,-1 0-1 0 0,1 0 1 0 0,0-1-1 0 0,0 1 1 0 0,0 0-1 0 0,0-1 1 0 0,0 1-1 0 0,0 0 1 0 0,0-1-1 0 0,0 0 1 0 0,0 1-1 0 0,1-1 0 0 0,-1 0 1 0 0,0 1-1 0 0,0-1 1 0 0,0 0-1 0 0,0 0 1 0 0,3 0-1 0 0,-3 0-1 0 0,0-1 1 0 0,0 1-1 0 0,-1 0 0 0 0,1-1 0 0 0,0 1 0 0 0,0-1 0 0 0,0 1 0 0 0,0-1 1 0 0,0 0-1 0 0,-1 1 0 0 0,1-1 0 0 0,0 0 0 0 0,-1 1 0 0 0,1-1 0 0 0,0 0 1 0 0,-1 0-1 0 0,1 0 0 0 0,-1 1 0 0 0,1-1 0 0 0,-1 0 0 0 0,1 0 0 0 0,-1-1 1 0 0,9-25-146 0 0,-8 24 102 0 0,0-1-43 0 0,0 1 35 0 0,0 0-1 0 0,0 0 1 0 0,0 0-1 0 0,0 0 1 0 0,1 0-1 0 0,-1 0 0 0 0,3-3 1 0 0,-4 6 48 0 0,0-1 1 0 0,1 1-1 0 0,-1 0 0 0 0,0-1 1 0 0,1 1-1 0 0,-1 0 1 0 0,1-1-1 0 0,-1 1 0 0 0,1 0 1 0 0,-1 0-1 0 0,1-1 0 0 0,-1 1 1 0 0,1 0-1 0 0,-1 0 0 0 0,1 0 1 0 0,-1 0-1 0 0,1 0 1 0 0,-1 0-1 0 0,1 0 0 0 0,-1 0 1 0 0,1 0-1 0 0,0 0 0 0 0,1 0-1 0 0,-1 1 1 0 0,0-1 0 0 0,0 1-1 0 0,0-1 1 0 0,0 1 0 0 0,0-1 0 0 0,0 1-1 0 0,0 0 1 0 0,0-1 0 0 0,0 1-1 0 0,0 0 1 0 0,1 1 0 0 0,13 17 63 0 0,0 0 0 0 0,-2 1 1 0 0,21 39-1 0 0,-4-7 340 0 0,-15-27-191 0 0,30 36 0 0 0,-38-52-194 0 0,1-2 1 0 0,-1 1 0 0 0,1-1 0 0 0,0 0-1 0 0,1 0 1 0 0,0-1 0 0 0,17 9 0 0 0,-18-12-7 0 0,0 0 1 0 0,0-1 0 0 0,0 0-1 0 0,10 1 1 0 0,-13-2 6 0 0,0-1 0 0 0,0 1-1 0 0,1 1 1 0 0,-1-1 0 0 0,0 0-1 0 0,0 1 1 0 0,-1 0 0 0 0,1 1 0 0 0,0-1-1 0 0,-1 1 1 0 0,1-1 0 0 0,7 8-1 0 0,-7-5 2 0 0,2 1 51 0 0,0 1 0 0 0,-1 0 0 0 0,7 11 0 0 0,-12-18-40 0 0,-1 1-1 0 0,0-1 1 0 0,0 1-1 0 0,1-1 1 0 0,-1 0-1 0 0,0 1 0 0 0,1-1 1 0 0,-1 0-1 0 0,0 1 1 0 0,1-1-1 0 0,-1 0 1 0 0,1 0-1 0 0,-1 1 0 0 0,1-1 1 0 0,-1 0-1 0 0,0 0 1 0 0,1 0-1 0 0,-1 0 0 0 0,1 1 1 0 0,-1-1-1 0 0,1 0 1 0 0,-1 0-1 0 0,2 0 1 0 0,-2 0-8 0 0,0 0 1 0 0,1 0 0 0 0,-1 0 0 0 0,0 0 0 0 0,0 0 0 0 0,1 0 0 0 0,-1 0 0 0 0,0 0 0 0 0,0 0 0 0 0,1 0 0 0 0,-1 0 0 0 0,0 0 0 0 0,0 0 0 0 0,0 0 0 0 0,1 1 0 0 0,-1-1 0 0 0,0 0 0 0 0,0 0 0 0 0,1 0 0 0 0,-1 0 0 0 0,0 0 0 0 0,0 1 0 0 0,0-1 0 0 0,0 0 0 0 0,1 0 0 0 0,-1 0 0 0 0,0 1 0 0 0,0-1 0 0 0,0 0 0 0 0,0 0 0 0 0,0 1 0 0 0,0-1 0 0 0,0 0 0 0 0,0 0-1 0 0,0 1 1 0 0,1-1 0 0 0,-1 0 0 0 0,0 0 0 0 0,0 1 0 0 0,0-1 0 0 0,0 0 0 0 0,0 0 0 0 0,-1 1 0 0 0,1-1 0 0 0,0 0 0 0 0,0 1 0 0 0,0 4-7 0 0,-1 1 0 0 0,0-1 0 0 0,0 1 0 0 0,0-1 0 0 0,-1 0 0 0 0,1 1 0 0 0,-2-1 0 0 0,1 0 0 0 0,0 0 0 0 0,-1 0 0 0 0,0 0 0 0 0,0-1 0 0 0,0 1 0 0 0,-1-1 0 0 0,1 0 0 0 0,-1 0 0 0 0,0 0 0 0 0,-9 6 0 0 0,13-10-10 0 0,-1 1 1 0 0,1-1-1 0 0,0 0 1 0 0,0 1-1 0 0,-1-1 0 0 0,1 0 1 0 0,-1 0-1 0 0,1 1 1 0 0,0-1-1 0 0,-1 0 1 0 0,1 0-1 0 0,0 0 0 0 0,-1 0 1 0 0,1 1-1 0 0,-1-1 1 0 0,1 0-1 0 0,-1 0 1 0 0,1 0-1 0 0,0 0 0 0 0,-1 0 1 0 0,1 0-1 0 0,-1 0 1 0 0,1 0-1 0 0,-1 0 1 0 0,1-1-1 0 0,0 1 0 0 0,-1 0 1 0 0,1 0-1 0 0,-1 0 1 0 0,1 0-1 0 0,0 0 1 0 0,-1-1-1 0 0,1 1 0 0 0,0 0 1 0 0,-1 0-1 0 0,1-1 1 0 0,0 1-1 0 0,-1 0 1 0 0,1-1-1 0 0,0 1 0 0 0,-1 0 1 0 0,1-1-1 0 0,-9-20-483 0 0,7 14 318 0 0,-2-6-118 0 0,0 0 0 0 0,-2-14 1 0 0,-1-4-269 0 0</inkml:trace>
</inkml:ink>
</file>

<file path=ppt/ink/ink4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4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4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4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4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4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4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4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4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4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4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4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4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4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4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4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4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4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4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4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4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4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4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4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4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4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4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4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4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4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4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4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4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4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4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4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4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4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4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4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4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4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4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4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4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4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4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4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24.629"/>
    </inkml:context>
    <inkml:brush xml:id="br0">
      <inkml:brushProperty name="width" value="0.35" units="cm"/>
      <inkml:brushProperty name="height" value="0.35" units="cm"/>
    </inkml:brush>
  </inkml:definitions>
  <inkml:trace contextRef="#ctx0" brushRef="#br0">1702 3557 11365 0 0,'9'-20'-597'0'0,"120"-233"186"0"0,-119 236 546 0 0,97-172 1084 0 0,-82 139-877 0 0,34-98 0 0 0,-53 128-35 0 0,-1 0 0 0 0,-1 1-1 0 0,-1-2 1 0 0,0 1 0 0 0,-2-31 0 0 0,0 50-281 0 0,-1 0 0 0 0,0 0-1 0 0,0 0 1 0 0,0 0 0 0 0,0 0 0 0 0,0 1 0 0 0,0-1 0 0 0,0 0 0 0 0,-1 0 0 0 0,1 0-1 0 0,0 0 1 0 0,0 0 0 0 0,-1 1 0 0 0,1-1 0 0 0,0 0 0 0 0,-1 0 0 0 0,1 0-1 0 0,-1 1 1 0 0,1-1 0 0 0,-1 0 0 0 0,1 1 0 0 0,-1-1 0 0 0,0 0 0 0 0,-1 0-1 0 0,0 0 42 0 0,0 1 0 0 0,-1-1 0 0 0,1 1-1 0 0,-1 0 1 0 0,1 0 0 0 0,0 0-1 0 0,-1 0 1 0 0,-3 0 0 0 0,1 1 22 0 0,-6 0-13 0 0,1 0 0 0 0,0 1 0 0 0,0 0 0 0 0,0 0 0 0 0,-15 7 0 0 0,2 1-155 0 0,-31 19 1 0 0,-81 55 92 0 0,-130 105-1 0 0,-112 119 268 0 0,198-158-149 0 0,-104 82 101 0 0,276-229-365 0 0,11-11 96 0 0,18-22 36 0 0,109-121 128 0 0,-2 2-70 0 0,642-902-111 0 0,-764 1041 54 0 0,176-278 59 0 0,-175 275-28 0 0,-6 11 3 0 0,-1 0 0 0 0,1 0-1 0 0,-1 0 1 0 0,0-1 0 0 0,0 1-1 0 0,0 0 1 0 0,0 0 0 0 0,0-1-1 0 0,0 1 1 0 0,-1-1 0 0 0,1 1-1 0 0,-1-1 1 0 0,0-3 292 0 0,-5 10-104 0 0,-129 119-520 0 0,-132 123 575 0 0,78-70-236 0 0,-400 401 103 0 0,572-560-146 0 0,8-9-13 0 0,0 0 0 0 0,1 0 0 0 0,0 1 0 0 0,0 0 0 0 0,1 0 0 0 0,-10 20 0 0 0,15-25-123 0 0,8-8-54 0 0,37-26 80 0 0,-2-1 0 0 0,55-53 0 0 0,76-91-2 0 0,246-326 190 0 0,-46-34 20 0 0,-369 528-94 0 0,7-8 9 0 0,0-2 0 0 0,-2 1 0 0 0,0-2 0 0 0,0 1 0 0 0,10-34 0 0 0,-16 20 193 0 0,-3 31-195 0 0,0 0 0 0 0,0-1 0 0 0,0 1-1 0 0,0 0 1 0 0,0-1 0 0 0,0 1 0 0 0,0 0 0 0 0,0-1 0 0 0,0 1-1 0 0,0 0 1 0 0,0-1 0 0 0,0 1 0 0 0,0 0 0 0 0,0-1 0 0 0,0 1 0 0 0,-1 0-1 0 0,1 0 1 0 0,0-1 0 0 0,0 1 0 0 0,0 0 0 0 0,-1-1 0 0 0,1 1 0 0 0,0 0-1 0 0,0 0 1 0 0,-1 0 0 0 0,1-1 0 0 0,0 1 0 0 0,0 0 0 0 0,-1 0 0 0 0,1 0-1 0 0,0 0 1 0 0,-1-1 0 0 0,1 1 0 0 0,0 0 0 0 0,-1 0 0 0 0,1 0 0 0 0,0 0-1 0 0,-1 0 1 0 0,1 0 0 0 0,0 0 0 0 0,-1 0 0 0 0,1 0 0 0 0,0 0 0 0 0,-1 0-1 0 0,1 0 1 0 0,0 0 0 0 0,-1 0 0 0 0,1 1 0 0 0,-11-1 2 0 0,0 0 1 0 0,0 1-1 0 0,0 0 1 0 0,0 1-1 0 0,1 0 0 0 0,-1 1 1 0 0,1 0-1 0 0,0 1 1 0 0,-16 7-1 0 0,-95 58-274 0 0,114-65 266 0 0,-89 60-10 0 0,3 5-1 0 0,-99 93 1 0 0,-152 177 47 0 0,287-281-18 0 0,-233 264 15 0 0,281-312-50 0 0,1 0 1 0 0,0 1-1 0 0,1 0 0 0 0,0 0 1 0 0,1 0-1 0 0,0 1 0 0 0,-6 20 1 0 0,12-27-158 0 0,10-5-36 0 0,4-4 154 0 0,0 0 0 0 0,0-1-1 0 0,-1 0 1 0 0,1-1 0 0 0,-1-1 0 0 0,-1 0-1 0 0,23-16 1 0 0,86-79 137 0 0,-106 88-87 0 0,296-299 66 0 0,-18-23 5 0 0,-211 241-26 0 0,-24 26-20 0 0,330-398 77 0 0,-386 465-101 0 0,14-17-7 0 0,-2 0 0 0 0,0-1 0 0 0,-1-1 0 0 0,16-35 0 0 0,-28 53 11 0 0,0 0-1 0 0,0-1 1 0 0,0 1-1 0 0,-1 0 0 0 0,1 0 1 0 0,-1-6-1 0 0,0 8-1 0 0,0 1 0 0 0,0 0 0 0 0,0 0 0 0 0,0-1 0 0 0,0 1 0 0 0,0 0-1 0 0,0 0 1 0 0,0-1 0 0 0,0 1 0 0 0,0 0 0 0 0,0 0 0 0 0,0 0 0 0 0,0-1 0 0 0,0 1 0 0 0,0 0-1 0 0,0 0 1 0 0,0-1 0 0 0,-1 1 0 0 0,1 0 0 0 0,0 0 0 0 0,0 0 0 0 0,0-1 0 0 0,0 1 0 0 0,0 0-1 0 0,-1 0 1 0 0,1 0 0 0 0,0 0 0 0 0,0 0 0 0 0,0-1 0 0 0,-1 1 0 0 0,1 0 0 0 0,0 0 0 0 0,0 0-1 0 0,0 0 1 0 0,-1 0 0 0 0,1 0 0 0 0,0 0 0 0 0,0 0 0 0 0,-1 0 0 0 0,1 0 0 0 0,0 0-1 0 0,0 0 1 0 0,-1 0 0 0 0,1 0 0 0 0,0 0 0 0 0,0 0 0 0 0,-1 0 0 0 0,1 0 0 0 0,0 0 0 0 0,0 0-1 0 0,0 0 1 0 0,-1 0 0 0 0,1 0 0 0 0,0 1 0 0 0,0-1 0 0 0,0 0 0 0 0,-1 0 0 0 0,-7 1 19 0 0,0 1 1 0 0,0 0-1 0 0,0 1 1 0 0,0-1-1 0 0,0 1 1 0 0,-7 5-1 0 0,-52 31-134 0 0,-310 229-5 0 0,20 30 65 0 0,335-279 68 0 0,-50 43 6 0 0,-86 97-1 0 0,155-156-22 0 0,-2 2-11 0 0,0 1 0 0 0,0 0 0 0 0,1 0 0 0 0,0 0 0 0 0,0 0-1 0 0,0 1 1 0 0,1-1 0 0 0,-4 10 0 0 0,7-13-87 0 0,5-3 8 0 0,6-4 88 0 0,0 0 0 0 0,-1-1 0 0 0,1 0 0 0 0,-1 0 1 0 0,0-1-1 0 0,-1 0 0 0 0,14-11 0 0 0,-9 6 11 0 0,418-337 244 0 0,-23-27-134 0 0,-67 45-207 0 0,-22-15 76 0 0,-307 329 40 0 0,19-28-1 0 0,-30 42-22 0 0,-1-1-1 0 0,0 1 1 0 0,0 0 0 0 0,0 0-1 0 0,0-1 1 0 0,0 1 0 0 0,-1-1-1 0 0,1 1 1 0 0,-1-1 0 0 0,1-2-1 0 0,-3 2 18 0 0,-11 6 3 0 0,-25 14-45 0 0,1 1 0 0 0,0 2 0 0 0,-34 25 0 0 0,-452 305-77 0 0,340-220 119 0 0,-190 138 356 0 0,17 11-14 0 0,262-195-365 0 0,83-74-4 0 0,0 1 0 0 0,-17 23 0 0 0,27-32-5 0 0,0-1 0 0 0,0 1 0 0 0,0 0 1 0 0,0 0-1 0 0,0 0 0 0 0,0 0 0 0 0,1 0 0 0 0,-1-1 1 0 0,1 1-1 0 0,-1 0 0 0 0,1 0 0 0 0,0 0 0 0 0,-1 3 0 0 0,5-1-134 0 0,9-6 20 0 0,9-3 125 0 0,0-1 0 0 0,-1-1 0 0 0,0-1 0 0 0,36-18 0 0 0,84-59 110 0 0,174-143 46 0 0,-20-25-150 0 0,55-73-56 0 0,-245 226 44 0 0,77-85 33 0 0,-174 176-22 0 0,-1 0 0 0 0,0-1 0 0 0,6-12 0 0 0,-13 21 1 0 0,1 0 0 0 0,0 1 0 0 0,-1-1 0 0 0,0 0-1 0 0,1 0 1 0 0,-1 0 0 0 0,1 1 0 0 0,-1-1 0 0 0,0 0-1 0 0,0 0 1 0 0,1 0 0 0 0,-1 0 0 0 0,0 0 0 0 0,0 0-1 0 0,0 0 1 0 0,0 1 0 0 0,0-1 0 0 0,0 0 0 0 0,0 0-1 0 0,0 0 1 0 0,-1 0 0 0 0,1-1 0 0 0,-2 2 4 0 0,1-1 1 0 0,0 1-1 0 0,-1 0 1 0 0,1-1-1 0 0,-1 1 1 0 0,1 0-1 0 0,-1 0 1 0 0,1 0-1 0 0,-1 0 1 0 0,1 0-1 0 0,-1 0 1 0 0,1 0-1 0 0,-1 0 1 0 0,1 1 0 0 0,-1-1-1 0 0,-1 1 1 0 0,-27 7-100 0 0,-1 0 0 0 0,1 2 0 0 0,-32 16 0 0 0,-91 51-363 0 0,112-55 420 0 0,-528 327 439 0 0,33 49-70 0 0,298-201-272 0 0,228-188-69 0 0,1-2-20 0 0,0 1 1 0 0,1-1-1 0 0,0 2 0 0 0,1-1 0 0 0,0 1 0 0 0,0 0 1 0 0,-10 18-1 0 0,16-21-108 0 0,9-5-12 0 0,1-3 94 0 0,0 1 0 0 0,1-1 0 0 0,-1 0 1 0 0,0-1-1 0 0,17-7 0 0 0,47-29 74 0 0,8-12 52 0 0,106-87 1 0 0,61-80-9 0 0,329-371-133 0 0,-567 578 66 0 0,-1 2 5 0 0,-1 0 1 0 0,0-1-1 0 0,0 0 0 0 0,-1 0 0 0 0,0 0 1 0 0,-1-1-1 0 0,10-23 0 0 0,-15 30 18 0 0,2-12 4 0 0,-3 15-20 0 0,-1 1 0 0 0,1-1 0 0 0,0 1 0 0 0,-1-1 0 0 0,1 1 0 0 0,0-1 0 0 0,-1 1 1 0 0,1-1-1 0 0,-1 1 0 0 0,1-1 0 0 0,-1 1 0 0 0,1 0 0 0 0,-1-1 0 0 0,1 1 0 0 0,-1 0 0 0 0,1-1 0 0 0,-1 1 1 0 0,0 0-1 0 0,1 0 0 0 0,-1-1 0 0 0,1 1 0 0 0,-1 0 0 0 0,0 0 0 0 0,1 0 0 0 0,-1 0 0 0 0,1 0 0 0 0,-1 0 0 0 0,0 0 1 0 0,1 0-1 0 0,-2 0 0 0 0,-10 1-30 0 0,-1-1 1 0 0,1 2-1 0 0,0 0 1 0 0,0 0-1 0 0,0 1 1 0 0,0 1-1 0 0,-17 6 1 0 0,-86 48-327 0 0,88-43 350 0 0,-460 286 124 0 0,24 36 88 0 0,456-332-208 0 0,-10 8 30 0 0,0 1 0 0 0,-28 29 0 0 0,64-56-670 0 0,357-279 549 0 0,-233 177 102 0 0,206-180 11 0 0,-338 286-23 0 0,1-2 21 0 0,-1 0 1 0 0,11-14-1 0 0,-22 25-24 0 0,0 0 0 0 0,0 0-1 0 0,0 0 1 0 0,0 0 0 0 0,-1 0 0 0 0,1 0-1 0 0,0 0 1 0 0,0 0 0 0 0,0 0 0 0 0,0 0-1 0 0,0 0 1 0 0,0 0 0 0 0,-1 0 0 0 0,1 0-1 0 0,0 0 1 0 0,0 0 0 0 0,0 0 0 0 0,0 0-1 0 0,0 0 1 0 0,0 0 0 0 0,0 0 0 0 0,-1 0-1 0 0,1-1 1 0 0,0 1 0 0 0,0 0 0 0 0,0 0-1 0 0,0 0 1 0 0,0 0 0 0 0,0 0-1 0 0,0 0 1 0 0,0 0 0 0 0,0 0 0 0 0,0-1-1 0 0,0 1 1 0 0,-1 0 0 0 0,1 0 0 0 0,0 0-1 0 0,0 0 1 0 0,0 0 0 0 0,0 0 0 0 0,0-1-1 0 0,0 1 1 0 0,0 0 0 0 0,0 0 0 0 0,0 0-1 0 0,0 0 1 0 0,0 0 0 0 0,0-1 0 0 0,0 1-1 0 0,0 0 1 0 0,1 0 0 0 0,-1 0 0 0 0,0 0-1 0 0,0 0 1 0 0,0 0 0 0 0,0 0 0 0 0,0-1-1 0 0,0 1 1 0 0,0 0 0 0 0,0 0 0 0 0,0 0-1 0 0,0 0 1 0 0,0 0 0 0 0,1 0 0 0 0,-1 0-1 0 0,0 0 1 0 0,0 0 0 0 0,-6 0-24 0 0,0 0 1 0 0,-1 1 0 0 0,1-1-1 0 0,0 2 1 0 0,0-1 0 0 0,0 1-1 0 0,0 0 1 0 0,0 0 0 0 0,0 0-1 0 0,1 1 1 0 0,-8 4 0 0 0,-6 2-108 0 0,-287 155-298 0 0,11 21 798 0 0,137-84-354 0 0,148-94-24 0 0,-231 150-305 0 0,224-143 401 0 0,17-14-91 0 0,-1 0 0 0 0,1 0 0 0 0,0 0 0 0 0,0 0 0 0 0,0 0 0 0 0,0 0 0 0 0,0 0 0 0 0,0 0 0 0 0,0 0 0 0 0,0 0 0 0 0,-1 0 0 0 0,1 0 0 0 0,0 0 1 0 0,0 0-1 0 0,0 0 0 0 0,0 0 0 0 0,0 0 0 0 0,0 1 0 0 0,0-1 0 0 0,0 0 0 0 0,0 0 0 0 0,0 0 0 0 0,0 0 0 0 0,-1 0 0 0 0,1 0 0 0 0,0 0 0 0 0,0 0 0 0 0,0 1 1 0 0,0-1-1 0 0,0 0 0 0 0,0 0 0 0 0,0 0 0 0 0,0 0 0 0 0,0 0 0 0 0,0 0 0 0 0,0 0 0 0 0,0 1 0 0 0,0-1 0 0 0,0 0 0 0 0,0 0 0 0 0,0 0 0 0 0,0 0 0 0 0,0 0 0 0 0,0 0 1 0 0,0 0-1 0 0,1 0 0 0 0,-1 1 0 0 0,0-1 0 0 0,0 0 0 0 0,0 0 0 0 0,0 0 0 0 0,0 0 0 0 0,0 0 0 0 0,0 0 0 0 0,0 0 0 0 0,0 0 0 0 0,0 0 0 0 0,1 0 0 0 0,3 0-38 0 0,0-1 0 0 0,-1 0-1 0 0,1-1 1 0 0,0 1-1 0 0,0-1 1 0 0,4-2-1 0 0,49-28 155 0 0,-2-3 0 0 0,68-55 0 0 0,-106 78-86 0 0,398-346 96 0 0,-381 327-123 0 0,-10 10 25 0 0,-1-1 0 0 0,31-40-1 0 0,-54 62-22 0 0,0 0 0 0 0,0 0 0 0 0,0 1-1 0 0,0-1 1 0 0,0-1 0 0 0,-1 1 0 0 0,1 0-1 0 0,0 0 1 0 0,0 0 0 0 0,0 0 0 0 0,0 0 0 0 0,-1 0-1 0 0,1 0 1 0 0,0 0 0 0 0,0 0 0 0 0,0 0-1 0 0,0 0 1 0 0,0 0 0 0 0,0 0 0 0 0,-1 0 0 0 0,1 0-1 0 0,0-1 1 0 0,0 1 0 0 0,0 0 0 0 0,0 0 0 0 0,0 0-1 0 0,0 0 1 0 0,0 0 0 0 0,0 0 0 0 0,0-1-1 0 0,0 1 1 0 0,-1 0 0 0 0,1 0 0 0 0,0 0 0 0 0,0 0-1 0 0,0 0 1 0 0,0-1 0 0 0,0 1 0 0 0,0 0-1 0 0,0 0 1 0 0,0 0 0 0 0,0 0 0 0 0,0 0 0 0 0,0-1-1 0 0,0 1 1 0 0,0 0 0 0 0,0 0 0 0 0,1 0-1 0 0,-1 0 1 0 0,0 0 0 0 0,0-1 0 0 0,0 1 0 0 0,0 0-1 0 0,0 0 1 0 0,0 0 0 0 0,0 0 0 0 0,0 0 0 0 0,0 0-1 0 0,0 0 1 0 0,1-1 0 0 0,-1 1 0 0 0,0 0-1 0 0,0 0 1 0 0,0 0 0 0 0,0 0 0 0 0,0 0 0 0 0,1 0-1 0 0,-18 5-63 0 0,-31 20-62 0 0,2 3-1 0 0,-46 34 1 0 0,44-29 139 0 0,-467 357 562 0 0,499-377-577 0 0,8-7-1 0 0,1 0 0 0 0,0 0 0 0 0,0 0 0 0 0,0 1 0 0 0,1 0 0 0 0,0 0 0 0 0,-8 13 0 0 0,13-18-40 0 0,-2 10-185 0 0,3-12 194 0 0,1 1 0 0 0,-1-1 1 0 0,1 0-1 0 0,-1 1 0 0 0,1-1 0 0 0,0 1 1 0 0,-1-1-1 0 0,1 0 0 0 0,-1 0 1 0 0,1 1-1 0 0,0-1 0 0 0,0 0 1 0 0,-1 0-1 0 0,1 0 0 0 0,0 0 0 0 0,-1 0 1 0 0,1 0-1 0 0,0 0 0 0 0,-1 0 1 0 0,1 0-1 0 0,0 0 0 0 0,-1 0 1 0 0,1 0-1 0 0,0 0 0 0 0,0-1 0 0 0,17-1 34 0 0,0-2-1 0 0,0 0 1 0 0,-1 0-1 0 0,34-15 0 0 0,72-43 257 0 0,-106 53-234 0 0,403-238 228 0 0,-14-21-187 0 0,-377 249-62 0 0,-10 7 17 0 0,-1-1 0 0 0,0 0 0 0 0,30-31 0 0 0,-47 43-15 0 0,9-15 36 0 0,-10 16-40 0 0,0 0 0 0 0,0-1 0 0 0,0 1 0 0 0,0 0 0 0 0,0 0 0 0 0,0 0 1 0 0,0-1-1 0 0,0 1 0 0 0,0 0 0 0 0,0 0 0 0 0,0 0 0 0 0,0-1 0 0 0,0 1 0 0 0,0 0 0 0 0,0 0 0 0 0,0 0 1 0 0,0-1-1 0 0,0 1 0 0 0,-1 0 0 0 0,1 0 0 0 0,0 0 0 0 0,0 0 0 0 0,0-1 0 0 0,0 1 0 0 0,-1 0 1 0 0,1 0-1 0 0,0 0 0 0 0,0 0 0 0 0,0 0 0 0 0,0 0 0 0 0,-1 0 0 0 0,1-1 0 0 0,-16 1 77 0 0,-14 6-208 0 0,1 0-1 0 0,0 2 1 0 0,-34 14 0 0 0,-91 46-279 0 0,120-52 432 0 0,-265 133 248 0 0,-287 194-1 0 0,573-335-256 0 0,-211 146 196 0 0,215-146-216 0 0,0-1 0 0 0,0 1-1 0 0,1 1 1 0 0,-10 12-1 0 0,10-5-36 0 0,8-15 35 0 0,0-1 0 0 0,0 1 0 0 0,-1-1 0 0 0,1 1 0 0 0,0-1 0 0 0,0 0-1 0 0,0 1 1 0 0,0-1 0 0 0,0 1 0 0 0,0-1 0 0 0,0 1 0 0 0,0-1 0 0 0,0 0-1 0 0,1 1 1 0 0,-1-1 0 0 0,0 1 0 0 0,0-1 0 0 0,0 1 0 0 0,0-1 0 0 0,0 0-1 0 0,1 1 1 0 0,-1-1 0 0 0,2 1-30 0 0,0 0 0 0 0,0 0 0 0 0,0 0 0 0 0,0-1 0 0 0,0 1 0 0 0,0-1 0 0 0,0 1 0 0 0,0-1 0 0 0,0 0 1 0 0,1 0-1 0 0,-1 0 0 0 0,0 0 0 0 0,0 0 0 0 0,0 0 0 0 0,3-1 0 0 0,23-2 26 0 0,44-10 0 0 0,13-13 191 0 0,119-54 1 0 0,-176 68-163 0 0,518-235 7 0 0,-177 77-35 0 0,231-89 13 0 0,6 30 79 0 0,-552 210-67 0 0,0 3 0 0 0,83-13 1 0 0,-133 28-22 0 0,0 0 0 0 0,0 1 0 0 0,0 0 1 0 0,0-1-1 0 0,0 1 0 0 0,0 1 1 0 0,0-1-1 0 0,0 1 0 0 0,6 1 0 0 0,-10-2 2 0 0,1 0-1 0 0,0 1 0 0 0,-1-1 0 0 0,1 1 0 0 0,-1-1 1 0 0,1 1-1 0 0,-1-1 0 0 0,1 1 0 0 0,-1-1 0 0 0,1 1 1 0 0,-1-1-1 0 0,1 1 0 0 0,-1 0 0 0 0,1-1 0 0 0,-1 1 1 0 0,0 0-1 0 0,0-1 0 0 0,1 1 0 0 0,-1 0 1 0 0,0 0-1 0 0,1 2-18 0 0,-1-1 0 0 0,0 0 0 0 0,0 1-1 0 0,0-1 1 0 0,-1 0 0 0 0,1 1 0 0 0,-1-1 0 0 0,0 5 0 0 0,-2 1-26 0 0,-1 1 1 0 0,0-1-1 0 0,0 1 0 0 0,0-1 1 0 0,-1 0-1 0 0,0-1 1 0 0,-1 1-1 0 0,-7 8 0 0 0,-62 54-54 0 0,68-64 106 0 0,-426 321 321 0 0,-27-32 134 0 0,356-229-210 0 0,-74 44 102 0 0,-277 181 217 0 0,455-290-566 0 0,-92 64 42 0 0,77-53-68 0 0,1 0 0 0 0,0 1 0 0 0,-13 18 0 0 0,22-21-157 0 0,5-10 170 0 0,1 1-1 0 0,-1-1 1 0 0,1 0 0 0 0,-1 1 0 0 0,1-1 0 0 0,-1 0 0 0 0,1 0 0 0 0,-1 1 0 0 0,1-1 0 0 0,-1 0 0 0 0,1 0 0 0 0,0 0-1 0 0,-1 0 1 0 0,1 0 0 0 0,-1 0 0 0 0,1 0 0 0 0,-1 0 0 0 0,1 0 0 0 0,0 0 0 0 0,14 0-76 0 0,0-2-1 0 0,-1 1 1 0 0,1-2 0 0 0,-1 0 0 0 0,17-5-1 0 0,81-33 92 0 0,-80 28 6 0 0,183-76 51 0 0,796-389-494 0 0,-23-47-571 0 0,-775 407 836 0 0,-54 28 52 0 0,-62 32-181 0 0,-66 37 58 0 0,-27 15 124 0 0,-20 10-42 0 0,-81 38-12 0 0,-59 32 142 0 0,-48 27 320 0 0,-906 502 1593 0 0,1080-586-1821 0 0,-853 498 1324 0 0,680-387-1093 0 0,77-37-166 0 0,117-84-158 0 0,1 1 0 0 0,-1 0 0 0 0,1 1 0 0 0,-8 11 1 0 0,16-20 13 0 0,-1 1 0 0 0,1-1 0 0 0,0 1 0 0 0,-1-1 1 0 0,1 1-1 0 0,0-1 0 0 0,-1 1 0 0 0,1-1 0 0 0,0 1 1 0 0,0-1-1 0 0,0 1 0 0 0,-1-1 0 0 0,1 1 0 0 0,0-1 1 0 0,0 1-1 0 0,0 0 0 0 0,0-1 0 0 0,0 1 0 0 0,0-1 1 0 0,0 2-1 0 0,1-1-6 0 0,0-1 1 0 0,-1 1-1 0 0,1-1 1 0 0,0 0 0 0 0,0 1-1 0 0,0-1 1 0 0,-1 0-1 0 0,1 1 1 0 0,0-1-1 0 0,0 0 1 0 0,0 0-1 0 0,0 0 1 0 0,0 1 0 0 0,-1-1-1 0 0,1 0 1 0 0,0 0-1 0 0,2-1 1 0 0,17 0-86 0 0,1 0 0 0 0,0-2 1 0 0,27-7-1 0 0,134-47 168 0 0,467-210 43 0 0,-8-42-121 0 0,-534 256-3 0 0,1245-660-514 0 0,-1113 573 276 0 0,-209 121 205 0 0,-27 16-3 0 0,-5 5-11 0 0,-50 31-136 0 0,-74 37 304 0 0,-59 29 25 0 0,-51 28-4 0 0,-132 74 259 0 0,-190 103 273 0 0,-648 365 75 0 0,1028-561-876 0 0,144-86 227 0 0,-37 31 0 0 0,67-50-95 0 0,0 0-1 0 0,1 0 1 0 0,-1 1-1 0 0,1-1 1 0 0,0 1-1 0 0,0 0 1 0 0,0 0-1 0 0,1 0 1 0 0,-4 8-1 0 0,6-12 7 0 0,0 0-1 0 0,-1 0 0 0 0,1 1 1 0 0,0-1-1 0 0,0 0 1 0 0,0 0-1 0 0,0 1 0 0 0,0-1 1 0 0,0 0-1 0 0,0 0 0 0 0,0 1 1 0 0,0-1-1 0 0,0 0 0 0 0,0 0 1 0 0,0 1-1 0 0,0-1 1 0 0,0 0-1 0 0,0 0 0 0 0,1 1 1 0 0,-1-1-1 0 0,0 0 0 0 0,0 0 1 0 0,0 0-1 0 0,0 1 0 0 0,0-1 1 0 0,1 0-1 0 0,-1 0 1 0 0,0 0-1 0 0,0 1 0 0 0,0-1 1 0 0,0 0-1 0 0,1 0 0 0 0,-1 0 1 0 0,0 0-1 0 0,0 0 0 0 0,0 1 1 0 0,1-1-1 0 0,-1 0 1 0 0,0 0-1 0 0,23 1-416 0 0,4-3 297 0 0,0-1-1 0 0,30-8 0 0 0,116-42 226 0 0,43-27 56 0 0,40-24-61 0 0,819-385 178 0 0,-24-40-525 0 0,-850 423-72 0 0,-170 89 257 0 0,18-9-246 0 0,72-51 1 0 0,-113 68 143 0 0,-8 9 170 0 0,0 0 0 0 0,0 0 1 0 0,0 0-1 0 0,0 0 0 0 0,0 0 0 0 0,0 0 1 0 0,0 0-1 0 0,0 0 0 0 0,0-1 0 0 0,0 1 1 0 0,0 0-1 0 0,0 0 0 0 0,0 0 1 0 0,0 0-1 0 0,0 0 0 0 0,-1 0 0 0 0,1 0 1 0 0,0 0-1 0 0,0 0 0 0 0,0 0 0 0 0,0 0 1 0 0,0-1-1 0 0,0 1 0 0 0,0 0 0 0 0,0 0 1 0 0,0 0-1 0 0,-1 0 0 0 0,1 0 1 0 0,0 0-1 0 0,0 0 0 0 0,0 0 0 0 0,0 0 1 0 0,0 0-1 0 0,0 0 0 0 0,0 0 0 0 0,-1 0 1 0 0,1 0-1 0 0,0 0 0 0 0,0 0 0 0 0,0 0 1 0 0,0 0-1 0 0,0 0 0 0 0,0 0 0 0 0,0 0 1 0 0,0 0-1 0 0,-1 0 0 0 0,1 1 1 0 0,0-1-1 0 0,0 0 0 0 0,-9 2-37 0 0,0 0 0 0 0,0 1 0 0 0,-12 6 0 0 0,-111 50-211 0 0,-67 31 104 0 0,-55 27 534 0 0,-947 465 1668 0 0,1110-537-1994 0 0,-227 114 401 0 0,39-11-228 0 0,50-21-186 0 0,58-23-10 0 0,151-91-50 0 0,-56 41-44 0 0,70-49 13 0 0,0 1-1 0 0,0 0 1 0 0,1 0 0 0 0,-1 0 0 0 0,2 0 0 0 0,-1 1 0 0 0,1 0 0 0 0,-6 10-1 0 0,10-16 37 0 0,0-1-1 0 0,-1 1 0 0 0,1-1 0 0 0,0 1 0 0 0,-1-1 1 0 0,1 1-1 0 0,0-1 0 0 0,-1 1 0 0 0,1 0 1 0 0,0-1-1 0 0,0 1 0 0 0,0-1 0 0 0,0 1 0 0 0,-1 0 1 0 0,1-1-1 0 0,0 1 0 0 0,0 0 0 0 0,0-1 0 0 0,0 1 1 0 0,1 0-1 0 0,-1-1 0 0 0,0 1 0 0 0,0-1 0 0 0,0 1 1 0 0,0 0-1 0 0,1-1 0 0 0,-1 1 0 0 0,0-1 0 0 0,1 1 1 0 0,-1-1-1 0 0,0 1 0 0 0,1-1 0 0 0,-1 1 0 0 0,0-1 1 0 0,1 1-1 0 0,-1-1 0 0 0,1 1 0 0 0,-1-1 0 0 0,1 0 1 0 0,-1 1-1 0 0,1-1 0 0 0,0 0 0 0 0,-1 1 0 0 0,1-1 1 0 0,-1 0-1 0 0,1 0 0 0 0,0 1 0 0 0,-1-1 1 0 0,1 0-1 0 0,1 0 0 0 0,11 2-9 0 0,1-1 1 0 0,0-1-1 0 0,0 0 1 0 0,19-3-1 0 0,21-4 75 0 0,1-2 0 0 0,91-28 0 0 0,109-53 53 0 0,-207 72-100 0 0,216-86 67 0 0,563-253 174 0 0,-10-26-109 0 0,-508 233-213 0 0,-50 23 1 0 0,-65 31-9 0 0,-122 63 20 0 0,55-31-233 0 0,-119 57 241 0 0,-16 6 20 0 0,-15 5 32 0 0,0 0 0 0 0,0 2-1 0 0,1 1 1 0 0,0 0 0 0 0,-25 13 0 0 0,3-2 35 0 0,-146 59 94 0 0,-53 25-102 0 0,-46 23-24 0 0,-1088 513 422 0 0,1043-475-392 0 0,45-16-152 0 0,59-25 15 0 0,63-25 166 0 0,144-83-55 0 0,0 1 0 0 0,-24 22 0 0 0,44-35-16 0 0,1 0-1 0 0,-1 1 1 0 0,1-1 0 0 0,0 1 0 0 0,0-1 0 0 0,0 1-1 0 0,0 0 1 0 0,0 0 0 0 0,-1 4 0 0 0,2-7 1 0 0,1 0 0 0 0,0 1 1 0 0,0-1-1 0 0,0 0 0 0 0,0 1 1 0 0,0-1-1 0 0,0 0 0 0 0,1 1 1 0 0,-1-1-1 0 0,0 0 0 0 0,0 1 1 0 0,0-1-1 0 0,0 0 0 0 0,0 1 1 0 0,0-1-1 0 0,0 0 0 0 0,1 0 1 0 0,-1 1-1 0 0,0-1 0 0 0,0 0 1 0 0,0 0-1 0 0,1 1 1 0 0,-1-1-1 0 0,0 0 0 0 0,0 0 1 0 0,1 0-1 0 0,-1 0 0 0 0,0 1 1 0 0,0-1-1 0 0,1 0 0 0 0,-1 0 1 0 0,0 0-1 0 0,1 0 0 0 0,-1 0 1 0 0,1 0-1 0 0,2 1-49 0 0,0-1-1 0 0,0 1 1 0 0,0-1 0 0 0,-1 0 0 0 0,1 0 0 0 0,0 0-1 0 0,3-1 1 0 0,27-4-109 0 0,45-12 0 0 0,89-41 177 0 0,44-27 78 0 0,46-22 24 0 0,42-19-62 0 0,661-304 153 0 0,-473 209-118 0 0,-112 54-136 0 0,-36 15-40 0 0,-60 30 48 0 0,-66 36-8 0 0,-80 37-14 0 0,-89 35-108 0 0,-40 13 85 0 0,-7 3-33 0 0,-26 11-242 0 0,-101 41 5 0 0,-74 29 464 0 0,-56 27-34 0 0,-53 25 37 0 0,-1890 866 1478 0 0,1933-864-1457 0 0,75-28-87 0 0,83-33-70 0 0,109-74 4 0 0,-1 0 0 0 0,1 0 0 0 0,0 1 0 0 0,0 0 0 0 0,0 0 0 0 0,0 0 0 0 0,0 0 0 0 0,1 0 0 0 0,-5 6 0 0 0,8-8 14 0 0,-1-1 1 0 0,0 0-1 0 0,0 1 1 0 0,0-1-1 0 0,0 0 1 0 0,0 1-1 0 0,1-1 1 0 0,-1 0-1 0 0,0 0 1 0 0,0 1-1 0 0,1-1 1 0 0,-1 0-1 0 0,0 0 1 0 0,0 0-1 0 0,1 1 1 0 0,-1-1-1 0 0,0 0 1 0 0,1 0-1 0 0,-1 0 1 0 0,0 0-1 0 0,0 1 0 0 0,1-1 1 0 0,-1 0-1 0 0,0 0 1 0 0,1 0-1 0 0,-1 0 1 0 0,0 0-1 0 0,1 0 1 0 0,-1 0-1 0 0,1 0 1 0 0,-1 0-1 0 0,0 0 1 0 0,1 0-1 0 0,-1 0 1 0 0,0 0-1 0 0,1-1 1 0 0,36-5-218 0 0,117-42 212 0 0,82-41 182 0 0,66-29-57 0 0,56-22-58 0 0,578-234 215 0 0,-255 100-131 0 0,-314 127-257 0 0,-56 20-22 0 0,-63 27 67 0 0,-73 32-96 0 0,-83 32-192 0 0,-79 30 158 0 0,-20 6 17 0 0,-63 19-39 0 0,-100 38 259 0 0,-80 32 61 0 0,-59 29 26 0 0,-57 21-9 0 0,-1758 763 1010 0 0,1758-726-1051 0 0,73-25 98 0 0,81-32 41 0 0,89-38-160 0 0,119-79-67 0 0,1 0 0 0 0,0 1-1 0 0,0-1 1 0 0,-1 1 0 0 0,2 0 0 0 0,-1 0 0 0 0,0 0 0 0 0,0 0-1 0 0,1 1 1 0 0,-3 3 0 0 0,5-6 11 0 0,0-1 0 0 0,0 0-1 0 0,1 1 1 0 0,-1-1 0 0 0,0 0 0 0 0,0 1-1 0 0,0-1 1 0 0,0 0 0 0 0,0 1 0 0 0,1-1 0 0 0,-1 0-1 0 0,0 1 1 0 0,0-1 0 0 0,0 0 0 0 0,1 0-1 0 0,-1 1 1 0 0,0-1 0 0 0,1 0 0 0 0,-1 0-1 0 0,0 1 1 0 0,0-1 0 0 0,1 0 0 0 0,-1 0-1 0 0,0 0 1 0 0,1 0 0 0 0,-1 1 0 0 0,0-1 0 0 0,1 0-1 0 0,-1 0 1 0 0,1 0 0 0 0,-1 0 0 0 0,0 0-1 0 0,1 0 1 0 0,-1 0 0 0 0,1 0 0 0 0,33-1-221 0 0,10-4 195 0 0,51-14 0 0 0,119-48 183 0 0,60-36-45 0 0,57-26-54 0 0,1027-417 191 0 0,-409 162-87 0 0,-671 272-171 0 0,-64 25-74 0 0,-75 29-67 0 0,-96 38 36 0 0,-37 14 47 0 0,-23 10-62 0 0,-113 36-61 0 0,-79 31 166 0 0,-69 24 50 0 0,-64 25 102 0 0,-1702 701 757 0 0,1696-660-762 0 0,66-25-41 0 0,77-33-32 0 0,84-36-55 0 0,119-66 7 0 0,-5 3-20 0 0,0 0 0 0 0,1 0 0 0 0,-11 10 0 0 0,17-14 21 0 0,0 0 0 0 0,0 0-1 0 0,0 0 1 0 0,0 0 0 0 0,0 0 0 0 0,-1 0 0 0 0,1 0 0 0 0,0 1 0 0 0,0-1 0 0 0,0 0 0 0 0,0 0 0 0 0,0 0-1 0 0,0 0 1 0 0,0 0 0 0 0,0 1 0 0 0,0-1 0 0 0,0 0 0 0 0,0 0 0 0 0,0 0 0 0 0,0 0 0 0 0,0 1 0 0 0,0-1-1 0 0,0 0 1 0 0,0 0 0 0 0,0 0 0 0 0,0 0 0 0 0,0 0 0 0 0,0 1 0 0 0,0-1 0 0 0,0 0 0 0 0,0 0-1 0 0,0 0 1 0 0,0 0 0 0 0,0 0 0 0 0,0 1 0 0 0,0-1 0 0 0,1 0 0 0 0,-1 0 0 0 0,0 0 0 0 0,0 0 0 0 0,0 0-1 0 0,0 0 1 0 0,0 0 0 0 0,0 0 0 0 0,0 1 0 0 0,1-1 0 0 0,-1 0 0 0 0,0 0 0 0 0,0 0 0 0 0,0 0 0 0 0,0 0-1 0 0,0 0 1 0 0,1 0 0 0 0,-1 0 0 0 0,0 0 0 0 0,0 0 0 0 0,0 0 0 0 0,0 0 0 0 0,1 0 0 0 0,-1 0-1 0 0,0 0 1 0 0,29-2-234 0 0,96-27 50 0 0,70-38 242 0 0,61-29 26 0 0,55-30-63 0 0,1100-462 203 0 0,-396 163-65 0 0,-632 266-157 0 0,-39 13-72 0 0,-51 21-48 0 0,-67 26 34 0 0,-68 31 1 0 0,-79 29 74 0 0,-69 30 27 0 0,-10 9-15 0 0,1 0-1 0 0,-1 0 0 0 0,0-1 1 0 0,-1 1-1 0 0,1 0 1 0 0,0 0-1 0 0,0 0 0 0 0,0 0 1 0 0,0-1-1 0 0,0 1 0 0 0,0 0 1 0 0,0 0-1 0 0,0 0 1 0 0,0 0-1 0 0,0 0 0 0 0,0-1 1 0 0,0 1-1 0 0,0 0 0 0 0,0 0 1 0 0,-1 0-1 0 0,1 0 1 0 0,0 0-1 0 0,0 0 0 0 0,0-1 1 0 0,0 1-1 0 0,0 0 1 0 0,0 0-1 0 0,-1 0 0 0 0,1 0 1 0 0,0 0-1 0 0,0 0 0 0 0,0 0 1 0 0,0 0-1 0 0,0 0 1 0 0,-1 0-1 0 0,1 0 0 0 0,0 0 1 0 0,0 0-1 0 0,0 0 0 0 0,0 0 1 0 0,-1 0-1 0 0,-4 0 4 0 0,-1 0 0 0 0,1 0 0 0 0,-1 0 0 0 0,1 1 0 0 0,-1 0 0 0 0,1 0 0 0 0,-10 4 0 0 0,-134 45 82 0 0,-84 34-129 0 0,-71 29-58 0 0,-60 28 130 0 0,-1419 576 347 0 0,1602-642-419 0 0,-1079 456-95 0 0,1070-449 191 0 0,77-33-45 0 0,78-32-57 0 0,35-17 45 0 0,0 0 1 0 0,0 0 0 0 0,0 1 0 0 0,0-1-1 0 0,0 0 1 0 0,0 0 0 0 0,0 0 0 0 0,0 0-1 0 0,0 0 1 0 0,0 0 0 0 0,0 0 0 0 0,1 0-1 0 0,-1 0 1 0 0,0 0 0 0 0,0 0 0 0 0,0 0-1 0 0,0 0 1 0 0,0 1 0 0 0,0-1 0 0 0,0 0-1 0 0,0 0 1 0 0,0 0 0 0 0,0 0 0 0 0,0 0-1 0 0,0 0 1 0 0,0 0 0 0 0,0 0 0 0 0,0 0-1 0 0,-1 0 1 0 0,1 0 0 0 0,0 0-1 0 0,0 1 1 0 0,0-1 0 0 0,0 0 0 0 0,0 0-1 0 0,26-8-242 0 0,94-39 128 0 0,70-37 142 0 0,63-33-35 0 0,58-30 11 0 0,881-404 164 0 0,-846 392-167 0 0,4 1-93 0 0,-56 28-193 0 0,-80 33-330 0 0,-82 34-109 0 0,-90 40 100 0 0,-41 20 467 0 0,-6 4 2 0 0,-28 10-144 0 0,-110 44 79 0 0,-82 29 277 0 0,-63 20 254 0 0,195-71-94 0 0,-1051 388 1673 0 0,31 66-842 0 0,887-368-927 0 0,65-24-8 0 0,135-79-114 0 0,-40 34 0 0 0,65-49 0 0 0,-2 2-18 0 0,0-1-1 0 0,0 1 1 0 0,0 0-1 0 0,0 0 1 0 0,1 0-1 0 0,-1 1 1 0 0,-2 4-1 0 0,5-7 19 0 0,0-1 0 0 0,0 0 0 0 0,0 1 0 0 0,-1-1 0 0 0,1 0 0 0 0,0 1 0 0 0,0-1 0 0 0,0 0 0 0 0,0 1 0 0 0,0-1 1 0 0,0 0-1 0 0,1 1 0 0 0,-1-1 0 0 0,0 0 0 0 0,0 1 0 0 0,0-1 0 0 0,0 0 0 0 0,0 0 0 0 0,0 1 0 0 0,1-1 0 0 0,-1 0 0 0 0,0 1 0 0 0,0-1 0 0 0,0 0 0 0 0,1 0 0 0 0,-1 1 0 0 0,0-1 0 0 0,0 0 0 0 0,1 0 0 0 0,-1 0 0 0 0,0 1 0 0 0,0-1 0 0 0,1 0 0 0 0,0 0 0 0 0,1 1-27 0 0,1 0 0 0 0,-1 0 0 0 0,1-1-1 0 0,-1 0 1 0 0,1 1 0 0 0,0-1 0 0 0,5 0 0 0 0,18-1-21 0 0,-1-1 1 0 0,34-7-1 0 0,108-40 138 0 0,230-105-3 0 0,-4-18-33 0 0,-227 99-22 0 0,-22 9 5 0 0,499-204 64 0 0,-577 247-269 0 0,-57 18-35 0 0,-14 8-62 0 0,-18 11 96 0 0,-1 0-1 0 0,0-1 1 0 0,-32 13 0 0 0,-1 0 127 0 0,-135 71 124 0 0,-52 24-2 0 0,-47 23-17 0 0,-1395 809 1810 0 0,1409-775-1575 0 0,56-27-114 0 0,62-34-187 0 0,143-106-13 0 0,-49 42-72 0 0,59-49 55 0 0,1-1 1 0 0,0 1-1 0 0,0 0 1 0 0,1 1 0 0 0,-1-1-1 0 0,1 1 1 0 0,-4 10 0 0 0,8-17 28 0 0,0 1-1 0 0,0-1 1 0 0,-1 0 0 0 0,1 1 0 0 0,0-1 0 0 0,0 1 0 0 0,0-1 0 0 0,0 1 0 0 0,0-1 0 0 0,-1 1-1 0 0,1-1 1 0 0,0 1 0 0 0,0-1 0 0 0,0 0 0 0 0,0 1 0 0 0,1-1 0 0 0,-1 1 0 0 0,0-1 0 0 0,0 1-1 0 0,0-1 1 0 0,0 1 0 0 0,1 0-6 0 0,0-1-1 0 0,0 1 0 0 0,-1-1 1 0 0,1 1-1 0 0,0-1 0 0 0,0 0 1 0 0,-1 0-1 0 0,1 1 0 0 0,0-1 1 0 0,0 0-1 0 0,0 0 0 0 0,0 0 1 0 0,0 0-1 0 0,-1 0 0 0 0,2 0 1 0 0,11 1-58 0 0,0-2 0 0 0,0 0 0 0 0,-1 0 0 0 0,1-2 0 0 0,0 1 0 0 0,15-6 0 0 0,89-37 96 0 0,62-38 121 0 0,37-25-75 0 0,536-300 30 0 0,-392 210-118 0 0,-249 138-11 0 0,782-419 49 0 0,-847 453-77 0 0,-79 39 11 0 0,-45 23 1 0 0,46-20 69 0 0,-1648 879 1164 0 0,1484-778-1208 0 0,156-90-59 0 0,39-26 75 0 0,-6 7-84 0 0,10-5-88 0 0,10-6-312 0 0,62-25 315 0 0,115-59 0 0 0,-140 62 170 0 0,292-149 75 0 0,38-18-119 0 0,2 21-2 0 0,-375 169 49 0 0,19-10 0 0 0,0 2 0 0 0,1 1 0 0 0,54-10 0 0 0,-70 19-11 0 0,-9 9-40 0 0,-3-4 31 0 0,1-1 1 0 0,-1 0-1 0 0,0 1 1 0 0,-1-1 0 0 0,1 0-1 0 0,-1 0 1 0 0,0 0-1 0 0,0 0 1 0 0,0 0 0 0 0,0 0-1 0 0,-1 0 1 0 0,0-1-1 0 0,-5 6 1 0 0,-7 6-35 0 0,-31 23-1 0 0,27-23 26 0 0,-120 88-37 0 0,-301 168 305 0 0,-21-24 251 0 0,-265 158 265 0 0,679-374-754 0 0,27-18 3 0 0,-31 17-1 0 0,48-30-54 0 0,14-9-43 0 0,71-47-110 0 0,67-37 218 0 0,56-27 33 0 0,52-26-33 0 0,1202-593 16 0 0,-1271 653-87 0 0,-1 9-764 0 0,-194 82 620 0 0,1 0 0 0 0,-1 0 0 0 0,-11 6-1 0 0,-94 44 107 0 0,-50 25 288 0 0,-43 23-7 0 0,-482 251 755 0 0,14 30-397 0 0,419-223-476 0 0,40-18-11 0 0,55-25-22 0 0,135-99-28 0 0,6-6-14 0 0,0 1 1 0 0,1 0-1 0 0,1 2 1 0 0,1-1-1 0 0,-19 26 0 0 0,30-32-96 0 0,12-8-37 0 0,10-5 103 0 0,0-2 0 0 0,-1 0 1 0 0,0 0-1 0 0,0-2 0 0 0,0 0 0 0 0,23-15 1 0 0,2-1 58 0 0,130-70 56 0 0,41-21-37 0 0,1444-735 182 0 0,-1450 745-249 0 0,-141 71-2 0 0,108-51-222 0 0,-144 75-22 0 0,-30 10 269 0 0,0 0 0 0 0,0 1 0 0 0,0-1 0 0 0,1 0 0 0 0,-1 0 1 0 0,0 0-1 0 0,0 0 0 0 0,0 0 0 0 0,0 1 0 0 0,0-1 0 0 0,0 0 0 0 0,0 0 0 0 0,0 0 0 0 0,0 0 0 0 0,0 0 0 0 0,0 1 1 0 0,0-1-1 0 0,0 0 0 0 0,-1 0 0 0 0,1 0 0 0 0,0 0 0 0 0,0 0 0 0 0,0 1 0 0 0,0-1 0 0 0,0 0 0 0 0,0 0 1 0 0,0 0-1 0 0,0 0 0 0 0,0 0 0 0 0,0 0 0 0 0,-1 0 0 0 0,1 1 0 0 0,0-1 0 0 0,0 0 0 0 0,0 0 0 0 0,0 0 0 0 0,0 0 1 0 0,0 0-1 0 0,-1 0 0 0 0,1 0 0 0 0,0 0 0 0 0,0 0 0 0 0,0 0 0 0 0,0 0 0 0 0,0 0 0 0 0,-1 0 0 0 0,1 0 0 0 0,-22 15-202 0 0,-80 45 11 0 0,-58 29 249 0 0,-44 23-25 0 0,-196 98 264 0 0,-310 169 425 0 0,222-91-435 0 0,23 22-179 0 0,445-296-100 0 0,-30 22 33 0 0,-57 52-1 0 0,96-75-135 0 0,11-14 97 0 0,0 1 0 0 0,1 0 0 0 0,-1 0 0 0 0,0 0 0 0 0,0 0 0 0 0,0 0 0 0 0,0 0 0 0 0,0 0 0 0 0,0 0 0 0 0,0 0 0 0 0,0 0 0 0 0,0 0 0 0 0,0 0 0 0 0,0 0 0 0 0,0 0 0 0 0,0 0 0 0 0,0 0 0 0 0,1 0 0 0 0,-1 0 0 0 0,0 0 0 0 0,0 0 0 0 0,0 0 0 0 0,0 0 0 0 0,0 0 0 0 0,0 0 0 0 0,0 0 0 0 0,0 0 1 0 0,0 0-1 0 0,0 0 0 0 0,0 0 0 0 0,0 0 0 0 0,0 0 0 0 0,1 0 0 0 0,-1 0 0 0 0,0 0 0 0 0,0 0 0 0 0,0 0 0 0 0,0 0 0 0 0,0 0 0 0 0,0 1 0 0 0,0-1 0 0 0,0 0 0 0 0,0 0 0 0 0,0 0 0 0 0,0 0 0 0 0,0 0 0 0 0,0 0 0 0 0,0 0 0 0 0,0 0 0 0 0,0 0 0 0 0,0 0 0 0 0,0 0 0 0 0,0 0 0 0 0,0 0 0 0 0,0 1 1 0 0,0-1-1 0 0,0 0 0 0 0,0 0 0 0 0,0 0 0 0 0,0 0 0 0 0,0 0 0 0 0,0 0 0 0 0,30-17-228 0 0,70-46 94 0 0,51-35 133 0 0,40-23 22 0 0,1120-665 109 0 0,-1057 649-101 0 0,-37 23-11 0 0,-51 28-14 0 0,-158 82-5 0 0,155-75-79 0 0,-155 76 3 0 0,-10 8-56 0 0,-7 6 91 0 0,0-1 1 0 0,0 0-1 0 0,-1 0 0 0 0,0-1 0 0 0,0-1 0 0 0,-1 1 0 0 0,-23 12 0 0 0,5-2 49 0 0,-113 72 96 0 0,-42 21-13 0 0,-220 127 291 0 0,-235 142-91 0 0,-302 250 254 0 0,832-547-462 0 0,68-51-115 0 0,100-70-149 0 0,83-53 165 0 0,51-35 11 0 0,42-23-19 0 0,798-458 97 0 0,26 52-369 0 0,-960 506-227 0 0,-94 46 455 0 0,0 0-1 0 0,0 0 0 0 0,0 0 1 0 0,10-1-1 0 0,-15 3 68 0 0,0 0 1 0 0,1 0-1 0 0,-1 0 1 0 0,0 0-1 0 0,0 0 1 0 0,0 0 0 0 0,0 0-1 0 0,0 0 1 0 0,0 0-1 0 0,1 0 1 0 0,-1 0-1 0 0,0 0 1 0 0,0 0-1 0 0,0 0 1 0 0,0 0-1 0 0,0 0 1 0 0,0 0-1 0 0,0 0 1 0 0,1 0-1 0 0,-1 0 1 0 0,0 0-1 0 0,0 0 1 0 0,0 0-1 0 0,0 0 1 0 0,0 1-1 0 0,0-1 1 0 0,0 0-1 0 0,0 0 1 0 0,0 0-1 0 0,1 0 1 0 0,-1 0 0 0 0,0 0-1 0 0,0 0 1 0 0,0 0-1 0 0,0 1 1 0 0,0-1-1 0 0,0 0 1 0 0,0 0-1 0 0,0 0 1 0 0,0 0-1 0 0,0 0 1 0 0,0 0-1 0 0,0 0 1 0 0,0 1-1 0 0,0-1 1 0 0,0 0-1 0 0,0 0 1 0 0,0 0-1 0 0,0 0 1 0 0,0 0-1 0 0,0 0 1 0 0,0 1-1 0 0,0-1 1 0 0,0 0-1 0 0,0 0 1 0 0,0 0-1 0 0,0 0 1 0 0,-1 0 0 0 0,1 0-1 0 0,0 0 1 0 0,0 0-1 0 0,0 1 1 0 0,0-1-1 0 0,0 0 1 0 0,0 0-1 0 0,-19 17-312 0 0,-78 46 52 0 0,-58 28 344 0 0,-47 23-11 0 0,-224 121 184 0 0,-547 317 719 0 0,706-385-812 0 0,46-24-67 0 0,62-32-26 0 0,118-82-34 0 0,11-9 18 0 0,-38 35 1 0 0,66-51-135 0 0,17-13-37 0 0,81-48-58 0 0,67-38 172 0 0,51-28 38 0 0,48-27-42 0 0,1731-833 212 0 0,-1745 880-524 0 0,-67 33-348 0 0,-77 38-69 0 0,-102 31 698 0 0,-1 1 0 0 0,1-1-1 0 0,0 1 1 0 0,0 0 0 0 0,-1-1 0 0 0,1 1 0 0 0,0 0-1 0 0,0 0 1 0 0,0 0 0 0 0,-1 0 0 0 0,4 1 0 0 0,-5-1 34 0 0,1 1 1 0 0,-1-1 0 0 0,0 0 0 0 0,0 0-1 0 0,0 1 1 0 0,1-1 0 0 0,-1 0-1 0 0,0 0 1 0 0,0 1 0 0 0,0-1 0 0 0,0 0-1 0 0,0 0 1 0 0,0 1 0 0 0,0-1 0 0 0,0 0-1 0 0,0 1 1 0 0,1-1 0 0 0,-1 0 0 0 0,0 0-1 0 0,0 1 1 0 0,-1-1 0 0 0,1 0-1 0 0,0 1 1 0 0,0-1 0 0 0,0 0 0 0 0,0 1-1 0 0,0-1 1 0 0,0 0 0 0 0,0 0 0 0 0,0 1-1 0 0,0-1 1 0 0,-1 0 0 0 0,1 0 0 0 0,0 1-1 0 0,0-1 1 0 0,0 0 0 0 0,-1 0-1 0 0,1 0 1 0 0,0 1 0 0 0,-5 5-45 0 0,0-1 0 0 0,-1 0 0 0 0,1 0 0 0 0,-11 8-1 0 0,-107 59 60 0 0,-59 22 230 0 0,-45 20 77 0 0,-545 274 932 0 0,6 20-744 0 0,467-242-447 0 0,47-24 29 0 0,65-35 38 0 0,75-42-40 0 0,74-45-62 0 0,34-18-34 0 0,5-3-23 0 0,20-12-134 0 0,84-50 37 0 0,66-35 136 0 0,51-26 23 0 0,2064-986 60 0 0,-2077 1025-1023 0 0,-282 126 155 0 0,-72 28 841 0 0,-56 22 64 0 0,-47 21 64 0 0,-2087 1133 1635 0 0,2304-1226-1809 0 0,-148 98 150 0 0,161-103-234 0 0,41-27-288 0 0,70-41 159 0 0,53-30 227 0 0,47-23-24 0 0,43-23-17 0 0,789-393 42 0 0,38 86 184 0 0,-872 373-145 0 0,-4 14-27 0 0,-179 49-124 0 0,-15 5-43 0 0,-40 22-1 0 0,-62 25 0 0 0,84-40 128 0 0,-148 65 3 0 0,-783 383 484 0 0,16 35 196 0 0,777-408-645 0 0,110-58-15 0 0,-119 69 101 0 0,156-86-101 0 0,16-11-23 0 0,0 0-1 0 0,0 0 0 0 0,0 0 0 0 0,0 0 1 0 0,1 0-1 0 0,-1 0 0 0 0,0 0 0 0 0,0 0 1 0 0,0 0-1 0 0,0 0 0 0 0,0 0 0 0 0,0 1 1 0 0,0-1-1 0 0,0 0 0 0 0,0 0 0 0 0,0 0 1 0 0,0 0-1 0 0,0 0 0 0 0,0 0 0 0 0,0 0 0 0 0,0 0 1 0 0,0 0-1 0 0,0 0 0 0 0,0 0 0 0 0,1 0 1 0 0,-1 0-1 0 0,0 0 0 0 0,0 1 0 0 0,0-1 1 0 0,0 0-1 0 0,0 0 0 0 0,0 0 0 0 0,0 0 1 0 0,0 0-1 0 0,0 0 0 0 0,0 0 0 0 0,0 0 1 0 0,0 0-1 0 0,-1 0 0 0 0,1 0 0 0 0,0 0 1 0 0,0 1-1 0 0,0-1 0 0 0,0 0 0 0 0,0 0 1 0 0,0 0-1 0 0,0 0 0 0 0,0 0 0 0 0,0 0 0 0 0,0 0 1 0 0,0 0-1 0 0,0 0 0 0 0,0 0 0 0 0,0 0 1 0 0,0 0-1 0 0,0 0 0 0 0,0 0 0 0 0,0 0 1 0 0,0 0-1 0 0,-1 0 0 0 0,35-11-155 0 0,78-41 90 0 0,62-31 100 0 0,53-28-20 0 0,49-25-6 0 0,755-353 48 0 0,-869 416-41 0 0,883-391 148 0 0,-787 351-1275 0 0,-228 104 669 0 0,-30 9 438 0 0,0 0 1 0 0,0 0-1 0 0,0 0 1 0 0,0 0 0 0 0,0 0-1 0 0,0 0 1 0 0,0 0-1 0 0,0 1 1 0 0,0-1-1 0 0,0 0 1 0 0,0 0-1 0 0,-1 0 1 0 0,1 0 0 0 0,0 0-1 0 0,0 0 1 0 0,0 0-1 0 0,0 0 1 0 0,0 0-1 0 0,0 0 1 0 0,0 0-1 0 0,0 0 1 0 0,0 1-1 0 0,0-1 1 0 0,0 0 0 0 0,0 0-1 0 0,0 0 1 0 0,0 0-1 0 0,0 0 1 0 0,1 0-1 0 0,-1 0 1 0 0,0 0-1 0 0,0 0 1 0 0,0 0 0 0 0,0 0-1 0 0,0 0 1 0 0,0 0-1 0 0,0 1 1 0 0,0-1-1 0 0,0 0 1 0 0,0 0-1 0 0,0 0 1 0 0,0 0 0 0 0,0 0-1 0 0,0 0 1 0 0,0 0-1 0 0,0 0 1 0 0,0 0-1 0 0,1 0 1 0 0,-1 0-1 0 0,0 0 1 0 0,0 0 0 0 0,0 0-1 0 0,0 0 1 0 0,-20 13-295 0 0,-82 37 88 0 0,-63 29 259 0 0,-54 23 89 0 0,-50 21 121 0 0,-968 496 739 0 0,34 46-481 0 0,1105-608-431 0 0,77-42-85 0 0,18-10-82 0 0,8-6 38 0 0,0 0 0 0 0,0-1 0 0 0,0 1 0 0 0,0-1 0 0 0,9-5 0 0 0,110-54-87 0 0,61-37 125 0 0,51-26 47 0 0,102-55-56 0 0,606-314 91 0 0,250-76 188 0 0,-1007 487-264 0 0,-3 4-422 0 0,-176 75 291 0 0,-11 7-4 0 0,3-4 135 0 0,-8 7-77 0 0,0 0 1 0 0,-14 9-1 0 0,-82 44 96 0 0,-54 24 29 0 0,-47 23 24 0 0,-616 338 571 0 0,-93 90-560 0 0,673-390-110 0 0,61-39 88 0 0,73-43 35 0 0,78-45-69 0 0,47-27-88 0 0,10-5 21 0 0,116-61 8 0 0,68-36 13 0 0,47-27 16 0 0,1000-514-138 0 0,-962 506 189 0 0,-38 24-64 0 0,-52 29-238 0 0,35-10-1632 0 0,-393 163 1582 0 0,-18 9 384 0 0,-47 20 115 0 0,-1179 535 1648 0 0,1192-527-1707 0 0,72-37-55 0 0,125-56-46 0 0,0-2 0 0 0,-1 1 0 0 0,1-1 0 0 0,0 0 0 0 0,-13 2 0 0 0,19-4-33 0 0,0 0-1 0 0,0 0 1 0 0,-1 0-1 0 0,1 0 1 0 0,0 0 0 0 0,0 0-1 0 0,0 0 1 0 0,0 0-1 0 0,0-1 1 0 0,0 1-1 0 0,0 0 1 0 0,-1 0-1 0 0,1 0 1 0 0,0 0-1 0 0,0 0 1 0 0,0 0-1 0 0,0-1 1 0 0,0 1 0 0 0,0 0-1 0 0,0 0 1 0 0,0 0-1 0 0,0 0 1 0 0,0 0-1 0 0,0-1 1 0 0,0 1-1 0 0,0 0 1 0 0,0 0-1 0 0,0 0 1 0 0,0 0 0 0 0,0 0-1 0 0,0-1 1 0 0,0 1-1 0 0,0 0 1 0 0,0 0-1 0 0,0 0 1 0 0,0 0-1 0 0,0 0 1 0 0,0 0-1 0 0,0-1 1 0 0,1 1-1 0 0,-1 0 1 0 0,0 0 0 0 0,0 0-1 0 0,0 0 1 0 0,0 0-1 0 0,0 0 1 0 0,0 0-1 0 0,0-1 1 0 0,0 1-1 0 0,1 0 1 0 0,-1 0-1 0 0,0 0 1 0 0,0 0-1 0 0,0 0 1 0 0,0 0 0 0 0,0 0-1 0 0,1 0 1 0 0,-1 0-1 0 0,0 0 1 0 0,0 0-1 0 0,26-19 65 0 0,117-62-4 0 0,90-39-36 0 0,61-27 22 0 0,46-17 24 0 0,1264-565-109 0 0,-1190 545-272 0 0,-42 20-564 0 0,-56 27 278 0 0,-71 35 390 0 0,-184 77 163 0 0,114-50-482 0 0,-255 99 60 0 0,-79 37 645 0 0,-68 25-18 0 0,-62 27-37 0 0,-54 27 18 0 0,-1132 488 1027 0 0,665-281-960 0 0,605-260-195 0 0,94-45 154 0 0,343-147-65 0 0,-177 81-79 0 0,212-91 76 0 0,55-23 2 0 0,249-100 49 0 0,188-81-494 0 0,-21-22-1102 0 0,-540 235 398 0 0,-168 88 526 0 0,-1-1 1 0 0,31-27-1 0 0,-54 42 375 0 0,-1-1 0 0 0,0-1-1 0 0,0 1 1 0 0,0-1-1 0 0,-1 1 1 0 0,0-1 0 0 0,0 0-1 0 0,4-9 1 0 0,-7 14 137 0 0,-1 0 0 0 0,1 1 0 0 0,-1-1 0 0 0,1 0 0 0 0,-1 0 0 0 0,0 0-1 0 0,0 0 1 0 0,1 0 0 0 0,-1 1 0 0 0,0-1 0 0 0,0 0 0 0 0,0 0 0 0 0,0 0 0 0 0,0 0 0 0 0,0 0 0 0 0,0 0 0 0 0,0 0 0 0 0,0 0 0 0 0,0 1-1 0 0,-1-1 1 0 0,1 0 0 0 0,0 0 0 0 0,-1 0 0 0 0,1 0 0 0 0,0 1 0 0 0,-1-1 0 0 0,1 0 0 0 0,-1 0 0 0 0,0 1 0 0 0,1-1 0 0 0,-1 0 0 0 0,1 1 0 0 0,-1-1-1 0 0,0 0 1 0 0,1 1 0 0 0,-1-1 0 0 0,0 1 0 0 0,0-1 0 0 0,0 1 0 0 0,1 0 0 0 0,-1-1 0 0 0,0 1 0 0 0,0 0 0 0 0,0-1 0 0 0,-1 1 0 0 0,-17-3 22 0 0,0 0 0 0 0,0 1 1 0 0,-29 1-1 0 0,-130 7 284 0 0,-59 31 221 0 0,-811 239 1825 0 0,24 78-1127 0 0,939-324-1161 0 0,-118 43 50 0 0,186-67-99 0 0,-172 57 171 0 0,181-61-180 0 0,18-7-22 0 0,302-130 87 0 0,-170 77-56 0 0,852-343-43 0 0,-225 93-336 0 0,-516 205 163 0 0,-54 21-104 0 0,-157 65 192 0 0,-16 6-50 0 0,0 0 0 0 0,0-1 1 0 0,-1-2-1 0 0,24-17 1 0 0,-42 23 38 0 0,-15 5 80 0 0,-4 3 63 0 0,-1 0 0 0 0,1 0 0 0 0,-20 5 0 0 0,-117 27 44 0 0,-57 20-40 0 0,-1002 286 1299 0 0,12 38-39 0 0,1016-321-1186 0 0,236-78-247 0 0,72-28 160 0 0,51-23 29 0 0,1562-671-371 0 0,-1706 730 318 0 0,156-68-292 0 0,-47 19-175 0 0,-61 21-45 0 0,-81 42 503 0 0,0 0 1 0 0,0-1 0 0 0,0 1 0 0 0,0 0-1 0 0,0-1 1 0 0,0 1 0 0 0,0-1-1 0 0,-1 0 1 0 0,1 1 0 0 0,-1-1 0 0 0,2-2-1 0 0,-3 3 28 0 0,0 1-1 0 0,0 0 1 0 0,0-1-1 0 0,0 1 1 0 0,0 0-1 0 0,0 0 1 0 0,0-1-1 0 0,-1 1 1 0 0,1 0-1 0 0,0 0 1 0 0,0-1-1 0 0,0 1 0 0 0,0 0 1 0 0,-1 0-1 0 0,1 0 1 0 0,0-1-1 0 0,0 1 1 0 0,0 0-1 0 0,-1 0 1 0 0,1 0-1 0 0,0 0 1 0 0,0-1-1 0 0,-1 1 1 0 0,1 0-1 0 0,0 0 1 0 0,0 0-1 0 0,-1 0 0 0 0,1 0 1 0 0,0 0-1 0 0,-1 0 1 0 0,1 0-1 0 0,0 0 1 0 0,-25-3 12 0 0,-11 4 8 0 0,-41 4-1 0 0,-100 29-129 0 0,-363 113 372 0 0,3 27 262 0 0,-578 222 694 0 0,941-333-1197 0 0,-34 18-3 0 0,197-75-391 0 0,30-10 253 0 0,51-18 64 0 0,82-33 71 0 0,50-19 33 0 0,750-300 134 0 0,-134 51-368 0 0,-593 237-655 0 0,-201 74 515 0 0,-27 12 314 0 0,1 0-1 0 0,0 0 1 0 0,-1 0 0 0 0,1 0-1 0 0,-1 0 1 0 0,1 0-1 0 0,-1 1 1 0 0,1-1 0 0 0,-1 1-1 0 0,-2 1 1 0 0,-103 24-29 0 0,-56 23 155 0 0,-608 210 407 0 0,9 17 302 0 0,603-217-760 0 0,-110 43-42 0 0,239-90 6 0 0,23-9-45 0 0,12-3-119 0 0,102-32 105 0 0,84-36 82 0 0,66-25 10 0 0,55-23 22 0 0,55-15-5 0 0,1741-546-584 0 0,-1974 637-97 0 0,-93 26 4 0 0,-48 13 341 0 0,-25 8 65 0 0,-115 31 30 0 0,-87 22 105 0 0,-65 18 218 0 0,-1583 477 1756 0 0,1535-436-1801 0 0,49-13-109 0 0,63-23 10 0 0,13-2 73 0 0,332-110-505 0 0,84-37 352 0 0,72-26 97 0 0,61-22 34 0 0,61-15 18 0 0,2966-788-925 0 0,-3323 910 781 0 0,26-6-326 0 0,96-11 1 0 0,-143 25 165 0 0,-20 5 19 0 0,-58 29 226 0 0,-119 41 0 0 0,-52 9 401 0 0,-64 20-312 0 0,-58 16 13 0 0,-760 262 646 0 0,21 40-141 0 0,950-358-259 0 0,95-38-150 0 0,56-25-231 0 0,4-2-18 0 0,26-7-32 0 0,121-43 110 0 0,90-34 62 0 0,71-25-130 0 0,1681-491-300 0 0,-1670 512 169 0 0,-70 20-203 0 0,16-4-1009 0 0,-260 68 951 0 0,-18 3 315 0 0,-34 8 128 0 0,-96 29 167 0 0,-69 22-51 0 0,-52 15 19 0 0,245-69-149 0 0,-821 234 1053 0 0,2 18 348 0 0,732-221-1169 0 0,99-35-246 0 0,0 1 0 0 0,0 0 0 0 0,1 0 1 0 0,-1 0-1 0 0,0 0 0 0 0,1 0 1 0 0,-1 1-1 0 0,-3 2 0 0 0,10-4-22 0 0,0 0 0 0 0,0 0 0 0 0,1 0 0 0 0,-1-1 0 0 0,0 1 0 0 0,5-3 0 0 0,110-23-90 0 0,418-118 232 0 0,-159 41-58 0 0,575-121-99 0 0,-755 187-398 0 0,-186 36 109 0 0,-29 6 186 0 0,4-1 50 0 0,-90 28-25 0 0,-57 17 180 0 0,-1238 413 1077 0 0,1254-409-1040 0 0,65-21-6 0 0,67-23-76 0 0,12-9-25 0 0,0 0-1 0 0,0 0 1 0 0,0 0 0 0 0,0 0-1 0 0,0 0 1 0 0,0 1 0 0 0,0-1-1 0 0,0 0 1 0 0,0 0 0 0 0,0 0-1 0 0,0 0 1 0 0,0 0 0 0 0,0 0-1 0 0,0 1 1 0 0,0-1 0 0 0,0 0-1 0 0,0 0 1 0 0,0 0 0 0 0,0 0-1 0 0,0 0 1 0 0,0 0 0 0 0,0 0-1 0 0,0 1 1 0 0,0-1 0 0 0,0 0-1 0 0,0 0 1 0 0,0 0 0 0 0,0 0-1 0 0,0 0 1 0 0,1 0 0 0 0,-1 0-1 0 0,0 0 1 0 0,0 1-1 0 0,0-1 1 0 0,0 0 0 0 0,0 0-1 0 0,0 0 1 0 0,0 0 0 0 0,0 0-1 0 0,1 0 1 0 0,-1 0 0 0 0,0 0-1 0 0,0 0 1 0 0,0 0 0 0 0,0 0-1 0 0,0 0 1 0 0,0 0 0 0 0,1 0-1 0 0,-1 0 1 0 0,5 1-18 0 0,0-1 0 0 0,0 0 0 0 0,0 0 0 0 0,0-1 0 0 0,0 1 0 0 0,0-1 0 0 0,8-2 0 0 0,121-32-46 0 0,65-23 101 0 0,52-16-34 0 0,639-179 153 0 0,6 22-880 0 0,-851 220 509 0 0,-27 7-249 0 0,-55 13 129 0 0,-82 24 282 0 0,-61 18 42 0 0,-711 209 491 0 0,8 32 483 0 0,843-278-926 0 0,-90 37 132 0 0,125-48-184 0 0,20-5-24 0 0,-15 2 39 0 0,101-20-69 0 0,72-31 98 0 0,53-20 41 0 0,1410-387 164 0 0,-1264 367-671 0 0,-425 95 608 0 0,-50 23-22 0 0,-47 17-218 0 0,-48 15 53 0 0,-1042 364 256 0 0,1216-414-221 0 0,-175 71 202 0 0,186-72-202 0 0,13-8-20 0 0,0 0 1 0 0,0 0 0 0 0,0 1 0 0 0,0-1 0 0 0,0 0 0 0 0,0 0-1 0 0,0 0 1 0 0,0 0 0 0 0,0 0 0 0 0,0 0 0 0 0,0 0-1 0 0,0 1 1 0 0,0-1 0 0 0,0 0 0 0 0,0 0 0 0 0,0 0-1 0 0,0 0 1 0 0,0 0 0 0 0,0 0 0 0 0,0 0 0 0 0,0 0-1 0 0,1 1 1 0 0,-1-1 0 0 0,0 0 0 0 0,0 0 0 0 0,0 0 0 0 0,0 0-1 0 0,0 0 1 0 0,0 0 0 0 0,0 0 0 0 0,0 0 0 0 0,0 0-1 0 0,0 0 1 0 0,1 0 0 0 0,-1 0 0 0 0,0 0 0 0 0,0 0-1 0 0,0 0 1 0 0,0 0 0 0 0,0 0 0 0 0,0 0 0 0 0,0 0 0 0 0,1 0-1 0 0,-1 0 1 0 0,0 0 0 0 0,0 0 0 0 0,0 0 0 0 0,0 0-1 0 0,0 0 1 0 0,0 0 0 0 0,0 0 0 0 0,1 0 0 0 0,-1 0-1 0 0,0 0 1 0 0,0 0 0 0 0,33-4-45 0 0,78-25 7 0 0,54-20 76 0 0,1319-382-6 0 0,-1337 389-281 0 0,-253 72-244 0 0,-1385 481 1008 0 0,1459-498-479 0 0,-21 7 75 0 0,-78 41 1 0 0,115-51-97 0 0,16-10-16 0 0,-1 1 0 0 0,1-1 0 0 0,0 0 0 0 0,0 0 1 0 0,0 0-1 0 0,0 0 0 0 0,-1 0 0 0 0,1 0 1 0 0,0 0-1 0 0,0 1 0 0 0,0-1 0 0 0,0 0 0 0 0,0 0 1 0 0,-1 0-1 0 0,1 0 0 0 0,0 1 0 0 0,0-1 1 0 0,0 0-1 0 0,0 0 0 0 0,0 0 0 0 0,0 1 0 0 0,0-1 1 0 0,0 0-1 0 0,0 0 0 0 0,0 0 0 0 0,0 1 1 0 0,0-1-1 0 0,0 0 0 0 0,0 0 0 0 0,0 0 0 0 0,0 1 1 0 0,0-1-1 0 0,0 0 0 0 0,0 1 0 0 0,3-1-8 0 0,0 1-1 0 0,-1-1 1 0 0,1 0-1 0 0,0 1 0 0 0,0-1 1 0 0,0 0-1 0 0,0-1 1 0 0,-1 1-1 0 0,1 0 1 0 0,3-2-1 0 0,109-19 7 0 0,59-24 76 0 0,442-128 78 0 0,305-81-937 0 0,-894 248 550 0 0,-26 5 114 0 0,-6 2 12 0 0,-42 12-33 0 0,-816 284 546 0 0,594-199-105 0 0,52-20-106 0 0,49-14 6 0 0,126-47-138 0 0,27-12-32 0 0,1 0-1 0 0,0 1 1 0 0,0 1 0 0 0,1 0 0 0 0,-24 18 0 0 0,33-20-62 0 0,16-4-23 0 0,10-1 26 0 0,-1-2 0 0 0,40-7 1 0 0,55-18 51 0 0,-105 24-20 0 0,723-200 133 0 0,-5-16-957 0 0,-682 205 707 0 0,35-11-71 0 0,-81 24 160 0 0,-12 2 11 0 0,-28 4 42 0 0,-1 3 0 0 0,-61 20 0 0 0,-1028 352 1041 0 0,1079-363-1020 0 0,28-10 1 0 0,1 1-1 0 0,-1 0 1 0 0,-37 22-1 0 0,52-22-6 0 0,7-8-42 0 0,0 0 1 0 0,0 1 0 0 0,0-1 0 0 0,0 0 0 0 0,0 0 0 0 0,0 0-1 0 0,1 1 1 0 0,-1-1 0 0 0,0 0 0 0 0,0 0 0 0 0,0 0-1 0 0,0 1 1 0 0,1-1 0 0 0,-1 0 0 0 0,0 0 0 0 0,0 0-1 0 0,1 0 1 0 0,-1 0 0 0 0,0 1 0 0 0,0-1 0 0 0,0 0-1 0 0,1 0 1 0 0,-1 0 0 0 0,0 0 0 0 0,0 0 0 0 0,1 0 0 0 0,-1 0-1 0 0,0 0 1 0 0,1 0 0 0 0,7 1-25 0 0,0-1-1 0 0,-1 0 1 0 0,1 0 0 0 0,0-1-1 0 0,9-2 1 0 0,407-101 110 0 0,-370 88-79 0 0,743-241-999 0 0,-725 231 553 0 0,-71 25 392 0 0,-10 2 29 0 0,-37 6 13 0 0,1 2 0 0 0,-76 26 0 0 0,64-18 3 0 0,-222 72 299 0 0,179-56 168 0 0,184-62-40 0 0,665-247-622 0 0,-506 184-52 0 0,248-106-461 0 0,493-279 0 0 0,-783 367 514 0 0,-40 21 90 0 0,-50 21 80 0 0,-101 61 30 0 0,1 0 0 0 0,-1-1-1 0 0,16-16 1 0 0,-25 23-1 0 0,0 0 1 0 0,0-1-1 0 0,0 1 0 0 0,-1 0 1 0 0,1 0-1 0 0,0-1 0 0 0,-1 1 0 0 0,1 0 1 0 0,0-1-1 0 0,-1-1 0 0 0,1 3 3 0 0,-1-1 0 0 0,0 1-1 0 0,0 0 1 0 0,0-1 0 0 0,0 1-1 0 0,-1-1 1 0 0,1 1 0 0 0,0 0 0 0 0,0-1-1 0 0,0 1 1 0 0,0 0 0 0 0,0-1-1 0 0,0 1 1 0 0,-1 0 0 0 0,1-1-1 0 0,0 1 1 0 0,0 0 0 0 0,0-1 0 0 0,-1 1-1 0 0,1 0 1 0 0,0 0 0 0 0,0-1-1 0 0,-1 1 1 0 0,1 0 0 0 0,0 0-1 0 0,-1-1 1 0 0,1 1 0 0 0,-4-1 44 0 0,0-1 1 0 0,0 1-1 0 0,-1 1 1 0 0,1-1-1 0 0,0 0 0 0 0,0 1 1 0 0,-7 0-1 0 0,-25 0 63 0 0,-39 5 0 0 0,-88 24-66 0 0,-49 20-49 0 0,-1041 303 350 0 0,711-192-155 0 0,299-90-112 0 0,67-18-29 0 0,73-17-54 0 0,98-33-11 0 0,-19 9 46 0 0,24-11-33 0 0,0 0 0 0 0,0 0 0 0 0,-1 0 0 0 0,1 0-1 0 0,0 0 1 0 0,0 0 0 0 0,0 0 0 0 0,0 0 0 0 0,0 0 0 0 0,0 0 0 0 0,0 0 0 0 0,0 0 0 0 0,0 0 0 0 0,0 0 0 0 0,0 0 0 0 0,0 0 0 0 0,0 0 0 0 0,-1 0 0 0 0,1 1 0 0 0,0-1 0 0 0,0 0 0 0 0,0 0 0 0 0,0 0-1 0 0,0 0 1 0 0,0 0 0 0 0,0 0 0 0 0,0 0 0 0 0,0 0 0 0 0,0 0 0 0 0,0 0 0 0 0,0 0 0 0 0,0 1 0 0 0,0-1 0 0 0,0 0 0 0 0,0 0 0 0 0,0 0 0 0 0,0 0 0 0 0,0 0 0 0 0,0 0 0 0 0,0 0 0 0 0,0 0 0 0 0,0 0-1 0 0,0 0 1 0 0,0 1 0 0 0,0-1 0 0 0,0 0 0 0 0,0 0 0 0 0,1 0 0 0 0,-1 0 0 0 0,0 0 0 0 0,0 0 0 0 0,0 0 0 0 0,0 0 0 0 0,0 0 0 0 0,0 0 0 0 0,0 0 0 0 0,0 0 0 0 0,0 0 0 0 0,0 0 0 0 0,0 0 0 0 0,0 0-1 0 0,0 0 1 0 0,1 0 0 0 0,15 2-237 0 0,85-9 115 0 0,61-24 118 0 0,42-17 10 0 0,1425-439-296 0 0,-1417 413 161 0 0,-209 73 128 0 0,86-31-148 0 0,90-47 0 0 0,-170 74 126 0 0,0 0 0 0 0,0-1 0 0 0,0 1 0 0 0,11-12 0 0 0,-19 16 23 0 0,0 0-1 0 0,0 1 1 0 0,0-1 0 0 0,-1 0-1 0 0,1 0 1 0 0,0 0-1 0 0,-1 0 1 0 0,1 0 0 0 0,-1 0-1 0 0,1 0 1 0 0,-1 0-1 0 0,1-2 1 0 0,-1 2 2 0 0,0 1-1 0 0,0-1 1 0 0,0 1 0 0 0,0-1-1 0 0,0 1 1 0 0,0 0 0 0 0,0-1-1 0 0,-1 1 1 0 0,1 0 0 0 0,0-1-1 0 0,0 1 1 0 0,0-1 0 0 0,0 1-1 0 0,-1 0 1 0 0,1-1 0 0 0,0 1-1 0 0,0 0 1 0 0,-1-1 0 0 0,1 1-1 0 0,0 0 1 0 0,-1 0 0 0 0,1-1-1 0 0,0 1 1 0 0,-1 0-1 0 0,1-1 1 0 0,-4 0 6 0 0,0 0-1 0 0,0-1 1 0 0,0 1-1 0 0,0 1 0 0 0,0-1 1 0 0,0 1-1 0 0,-7-1 1 0 0,-97 2-23 0 0,-55 15-53 0 0,-50 20 18 0 0,-630 155 589 0 0,5 33-4 0 0,616-163-400 0 0,-68 19-17 0 0,61-17-18 0 0,-4 3 85 0 0,328-86-312 0 0,85-31 115 0 0,66-22 47 0 0,55-16-74 0 0,306-88-127 0 0,551-163-589 0 0,-886 254 604 0 0,-59 13-11 0 0,-62 17 118 0 0,-127 46 49 0 0,37-20 0 0 0,-59 30 0 0 0,-1-1 0 0 0,1 0-1 0 0,-1 0 1 0 0,1 0 0 0 0,-1 0 0 0 0,1 0 0 0 0,-1 0 0 0 0,1 0 0 0 0,-1-1-1 0 0,0 1 1 0 0,0-1 0 0 0,0 1 0 0 0,0 0 0 0 0,0-1 0 0 0,2-2 0 0 0,-4 3-1 0 0,1 1 0 0 0,0 0 0 0 0,0-1 0 0 0,0 1 0 0 0,0 0 0 0 0,-1-1 1 0 0,1 1-1 0 0,0 0 0 0 0,0-1 0 0 0,-1 1 0 0 0,1 0 0 0 0,0-1 0 0 0,-1 1 0 0 0,1 0 1 0 0,0 0-1 0 0,-1 0 0 0 0,1-1 0 0 0,0 1 0 0 0,-1 0 0 0 0,1 0 0 0 0,-1 0 0 0 0,1 0 1 0 0,0 0-1 0 0,-1-1 0 0 0,0 1 0 0 0,-26-3 142 0 0,-97 9 154 0 0,-77 26-374 0 0,-69 23-29 0 0,-61 19 144 0 0,-870 239 136 0 0,13 33 425 0 0,877-254-516 0 0,66-21-61 0 0,-10 3-61 0 0,243-69-40 0 0,20-5 4 0 0,38-8-71 0 0,104-33 32 0 0,77-27 131 0 0,60-19 45 0 0,52-18-24 0 0,543-165-142 0 0,740-237-551 0 0,-1446 447 594 0 0,-74 17 30 0 0,-97 40 30 0 0,-1 1-3 0 0,0 0 0 0 0,0-1 0 0 0,0 1 0 0 0,7-6 1 0 0,-11 8 1 0 0,0 0 0 0 0,0 0 0 0 0,0-1 0 0 0,0 1 1 0 0,0 0-1 0 0,0 0 0 0 0,0 0 0 0 0,1 0 0 0 0,-1 0 1 0 0,0 0-1 0 0,0-1 0 0 0,0 1 0 0 0,0 0 0 0 0,0 0 1 0 0,0 0-1 0 0,0 0 0 0 0,0-1 0 0 0,0 1 1 0 0,0 0-1 0 0,0 0 0 0 0,0 0 0 0 0,0 0 0 0 0,0 0 1 0 0,0-1-1 0 0,0 1 0 0 0,0 0 0 0 0,0 0 0 0 0,0 0 1 0 0,0 0-1 0 0,0-1 0 0 0,0 1 0 0 0,-1 0 0 0 0,1 0 1 0 0,0 0-1 0 0,0 0 0 0 0,0 0 0 0 0,0 0 1 0 0,0 0-1 0 0,0-1 0 0 0,0 1 0 0 0,0 0 0 0 0,-1 0 1 0 0,1 0-1 0 0,0 0 0 0 0,0 0 0 0 0,0 0 0 0 0,0 0 1 0 0,0 0-1 0 0,-1 0 0 0 0,1 0 0 0 0,-22-3 43 0 0,-89 10 85 0 0,-62 25-199 0 0,167-31 67 0 0,-230 48-78 0 0,-56 16 106 0 0,-974 260 405 0 0,14 42-143 0 0,990-288-244 0 0,74-21-39 0 0,78-21 5 0 0,104-35-8 0 0,-24 9-46 0 0,29-10-2 0 0,5-2-26 0 0,21-4-169 0 0,100-26 67 0 0,76-26 181 0 0,60-20 1 0 0,47-15-6 0 0,-2 2 78 0 0,1686-518-396 0 0,-1845 557 315 0 0,-130 45 14 0 0,-1-1-1 0 0,21-12 1 0 0,-29 11 5 0 0,-8 8-15 0 0,0-1 0 0 0,0 1 0 0 0,0 0 0 0 0,0 0-1 0 0,0-1 1 0 0,-1 1 0 0 0,1 0 0 0 0,0 0 0 0 0,0-1 0 0 0,0 1 0 0 0,0 0 0 0 0,-1 0 0 0 0,1 0 0 0 0,0 0 0 0 0,0-1 0 0 0,-1 1 0 0 0,1 0 0 0 0,0 0 0 0 0,0 0 0 0 0,-1 0 0 0 0,1 0 0 0 0,0 0 0 0 0,0 0 0 0 0,-1-1 0 0 0,1 1 0 0 0,0 0 0 0 0,-1 0-1 0 0,1 0 1 0 0,0 0 0 0 0,-1 0 0 0 0,-10 0 30 0 0,0-1 0 0 0,0 2-1 0 0,-20 2 1 0 0,-122 20 36 0 0,-65 23-126 0 0,-54 14-21 0 0,-804 207 419 0 0,5 23 7 0 0,897-242-393 0 0,-50 14 47 0 0,154-43 37 0 0,-97 25 115 0 0,325-89-592 0 0,40-15 400 0 0,57-17 51 0 0,49-14 7 0 0,60-19 31 0 0,1335-408-501 0 0,-1596 483 319 0 0,-78 24 118 0 0,-25 11 16 0 0,0 0 0 0 0,-1 0 0 0 0,1 0 0 0 0,0 0-1 0 0,0 0 1 0 0,0 0 0 0 0,0 0 0 0 0,0 0 0 0 0,0 0 0 0 0,-1-1-1 0 0,1 1 1 0 0,0 0 0 0 0,0 0 0 0 0,0 0 0 0 0,0 0-1 0 0,0 0 1 0 0,0 0 0 0 0,0 0 0 0 0,-1 0 0 0 0,1-1 0 0 0,0 1-1 0 0,0 0 1 0 0,0 0 0 0 0,0 0 0 0 0,0 0 0 0 0,0 0-1 0 0,0-1 1 0 0,0 1 0 0 0,0 0 0 0 0,0 0 0 0 0,0 0 0 0 0,0 0-1 0 0,0 0 1 0 0,0-1 0 0 0,0 1 0 0 0,0 0 0 0 0,0 0-1 0 0,0 0 1 0 0,0 0 0 0 0,0-1 0 0 0,0 1 0 0 0,0 0 0 0 0,0 0-1 0 0,0 0 1 0 0,0 0 0 0 0,0 0 0 0 0,0 0 0 0 0,1-1 0 0 0,-1 1-1 0 0,0 0 1 0 0,0 0 0 0 0,0 0 0 0 0,0 0 0 0 0,0 0-1 0 0,0 0 1 0 0,0 0 0 0 0,1 0 0 0 0,-1-1 0 0 0,0 1 0 0 0,0 0-1 0 0,0 0 1 0 0,0 0 0 0 0,0 0 0 0 0,1 0 0 0 0,-1 0-1 0 0,0 0 1 0 0,0 0 0 0 0,0 0 0 0 0,1 0 0 0 0,-15-1 64 0 0,1 0 0 0 0,-1 1 1 0 0,-23 2-1 0 0,-106 15-70 0 0,-49 18-65 0 0,-571 145 140 0 0,5 29 81 0 0,468-127-75 0 0,-857 231-140 0 0,1117-305 105 0 0,26-7-92 0 0,19-5-206 0 0,83-25 30 0 0,62-22 184 0 0,48-15 46 0 0,54-16 8 0 0,1436-468 83 0 0,-1379 445-172 0 0,-161 52 96 0 0,-59 21 6 0 0,-73 20-29 0 0,-21 7 15 0 0,-17 3 55 0 0,-82 7 68 0 0,-63 23-186 0 0,-46 16 61 0 0,-528 137 174 0 0,-1 21 168 0 0,386-105-367 0 0,45-14-39 0 0,41-12 72 0 0,60-15 16 0 0,-9 3 53 0 0,194-54-147 0 0,15-4-3 0 0,3 0-15 0 0,30-7-276 0 0,79-26 47 0 0,60-21 298 0 0,48-17 70 0 0,1799-611 85 0 0,-1993 671-146 0 0,-8 5 0 0 0,-1-2 1 0 0,0 0-1 0 0,30-19 1 0 0,-44 23 14 0 0,-13 1 14 0 0,-35 3-48 0 0,1 1 1 0 0,-72 14-1 0 0,-68 21-80 0 0,-53 17 224 0 0,-1066 291 282 0 0,719-184-229 0 0,320-89-162 0 0,60-16 60 0 0,-13 0-2 0 0,207-53-223 0 0,14-2 2 0 0,24-5-172 0 0,260-77-105 0 0,13-20 539 0 0,-248 83-144 0 0,478-171 97 0 0,147-49 33 0 0,-648 228-97 0 0,-5 2-23 0 0,35-17 0 0 0,-57 23 2 0 0,-9 2 1 0 0,-25 1 73 0 0,0 2 0 0 0,-58 12 0 0 0,-615 170 69 0 0,459-115-93 0 0,-399 111 369 0 0,589-166-411 0 0,51-12-107 0 0,9-3 31 0 0,20-3-68 0 0,76-25 11 0 0,764-252 247 0 0,-216 65 5 0 0,-471 160-103 0 0,22-4-90 0 0,-196 57-132 0 0,-12 2 122 0 0,-27 7-87 0 0,-98 31-285 0 0,-68 21 366 0 0,-55 19 85 0 0,-970 290 418 0 0,763-230 180 0 0,408-122-501 0 0,35-12-64 0 0,1 2-1 0 0,0 1 1 0 0,-25 12-1 0 0,42-17-151 0 0,18-3-23 0 0,86-14 14 0 0,69-26 221 0 0,59-22 14 0 0,53-17-51 0 0,-141 40-43 0 0,647-183 94 0 0,3 17-177 0 0,-516 143-522 0 0,-55 19-955 0 0,33 8-5977 0 0,-210 34 2108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5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5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5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5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5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5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5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5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5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5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5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5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5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5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5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5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5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5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5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5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5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5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5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5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5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5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5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5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5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5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5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5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5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5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5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5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5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5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5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5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5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5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5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5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5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5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5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5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5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5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5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5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5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5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5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5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5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5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5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5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5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5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5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5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5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5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5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5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5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5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43.940"/>
    </inkml:context>
    <inkml:brush xml:id="br0">
      <inkml:brushProperty name="width" value="0.35" units="cm"/>
      <inkml:brushProperty name="height" value="0.35" units="cm"/>
    </inkml:brush>
  </inkml:definitions>
  <inkml:trace contextRef="#ctx0" brushRef="#br0">220 4034 7123 0 0,'0'0'472'0'0,"0"72"2402"0"0,-1-81-2763 0 0,1 0 0 0 0,1 0-1 0 0,0 0 1 0 0,0 0 0 0 0,0 0 0 0 0,1 0 0 0 0,1 1 0 0 0,5-16 0 0 0,-5 37 1143 0 0,-3 12-1110 0 0,-10 23 152 0 0,3-28-297 0 0,5-16-96 0 0,8-172 395 0 0,-2 13 155 0 0,-4 117-178 0 0,0 36-236 0 0,-1 1 0 0 0,1 0 0 0 0,0-1 0 0 0,0 1 0 0 0,-1-1 0 0 0,1 1 1 0 0,0 0-1 0 0,-1-1 0 0 0,0 1 0 0 0,1 0 0 0 0,-2-2 0 0 0,2 2-33 0 0,0 1 0 0 0,-1 0 0 0 0,1 0 0 0 0,0 0 0 0 0,0 0 0 0 0,0 0 1 0 0,0-1-1 0 0,0 1 0 0 0,0 0 0 0 0,-1 0 0 0 0,1 0 0 0 0,0 0 0 0 0,0 0 0 0 0,0 0 0 0 0,0 0 0 0 0,-1 0 0 0 0,1 0 1 0 0,0 0-1 0 0,0 0 0 0 0,0-1 0 0 0,0 1 0 0 0,-1 0 0 0 0,1 0 0 0 0,0 0 0 0 0,0 0 0 0 0,0 0 0 0 0,-1 1 0 0 0,1-1 1 0 0,0 0-1 0 0,0 0 0 0 0,0 0 0 0 0,0 0 0 0 0,-1 0 0 0 0,-5 11-66 0 0,-50 203 279 0 0,57-247-958 0 0,2-31 958 0 0,8 2 16 0 0,-5 26-81 0 0,0 1-1 0 0,0-49 1 0 0,-6 83-146 0 0,0 11-256 0 0,0 0 221 0 0,-1 0 0 0 0,-1 0 0 0 0,1 0 0 0 0,-6 15 0 0 0,2-3 85 0 0,6-44-163 0 0,-2-41 0 0 0,0 16 251 0 0,1 43-120 0 0,0-1 1 0 0,-1 1-1 0 0,1 0 1 0 0,-1 0 0 0 0,-1-5-1 0 0,2 8-30 0 0,-1 0 1 0 0,1 0-1 0 0,0 0 0 0 0,-1 1 1 0 0,1-1-1 0 0,0 0 0 0 0,-1 0 1 0 0,1 0-1 0 0,-1 1 0 0 0,1-1 1 0 0,-1 0-1 0 0,0 0 0 0 0,1 1 0 0 0,-1-1 1 0 0,0 1-1 0 0,1-1 0 0 0,-1 0 1 0 0,0 1-1 0 0,0 0 0 0 0,1-1 1 0 0,-1 1-1 0 0,0-1 0 0 0,0 1 1 0 0,0 0-1 0 0,0-1 0 0 0,0 1 0 0 0,-1 0 1 0 0,1 0 21 0 0,2-5-58 0 0,-1-1 23 0 0,1 1 1 0 0,0 0-1 0 0,0 0 1 0 0,0-1-1 0 0,1 1 1 0 0,0 0-1 0 0,0 0 1 0 0,0 1-1 0 0,0-1 1 0 0,1 0-1 0 0,4-5 1 0 0,-1 0 46 0 0,41-81 165 0 0,-47 91-134 0 0,0 6-78 0 0,-2 1 31 0 0,1 0 0 0 0,0-1 1 0 0,-1 1-1 0 0,-1-1 1 0 0,1 0-1 0 0,-1 1 0 0 0,0-1 1 0 0,0 0-1 0 0,-1 0 0 0 0,-7 10 1 0 0,-8 12-43 0 0,15-20 42 0 0,2-4-5 0 0,0 0 0 0 0,0 0-1 0 0,0-1 1 0 0,-1 1 0 0 0,1-1-1 0 0,-1 1 1 0 0,0-1 0 0 0,0 0-1 0 0,-4 4 1 0 0,7-15-351 0 0,1 1 327 0 0,1-1-1 0 0,-1 1 0 0 0,1 0 0 0 0,1 0 0 0 0,0-1 0 0 0,0 1 0 0 0,0 1 0 0 0,7-12 0 0 0,12-26 93 0 0,-5 11 63 0 0,-14 29-104 0 0,-3 3-28 0 0,4 15-585 0 0,-2-1 469 0 0,2 16 1 0 0,3 21 285 0 0,0-14-49 0 0,-6-27-120 0 0,0-1-1 0 0,1 1 0 0 0,0-1 0 0 0,1 0 0 0 0,-1 0 0 0 0,1 0 1 0 0,1 0-1 0 0,-1 0 0 0 0,7 8 0 0 0,-9-14-30 0 0,1-1 1 0 0,-1 0-1 0 0,1 1 1 0 0,-1-1-1 0 0,1 0 1 0 0,-1 0-1 0 0,1 0 0 0 0,0 0 1 0 0,-1 0-1 0 0,1 0 1 0 0,0-1-1 0 0,0 1 1 0 0,0 0-1 0 0,0-1 1 0 0,-1 1-1 0 0,1-1 0 0 0,0 0 1 0 0,0 0-1 0 0,0 0 1 0 0,0 0-1 0 0,0 0 1 0 0,0 0-1 0 0,0 0 1 0 0,0-1-1 0 0,3 0 0 0 0,1-1 39 0 0,1 0-1 0 0,0-1 1 0 0,-1 0-1 0 0,0 0 1 0 0,11-6-1 0 0,-17 8-15 0 0,3-1-1 0 0,1-1-1 0 0,-1 1 1 0 0,1 0-1 0 0,0 0 1 0 0,0 0-1 0 0,0 0 1 0 0,0 1-1 0 0,0 0 1 0 0,0-1-1 0 0,0 1 1 0 0,0 1 0 0 0,7-1-1 0 0,-10 1-15 0 0,-1 0 0 0 0,1 1 1 0 0,0-1-1 0 0,-1 1 0 0 0,1-1 0 0 0,0 1 0 0 0,-1-1 1 0 0,1 1-1 0 0,-1 0 0 0 0,1-1 0 0 0,-1 1 0 0 0,1 0 0 0 0,-1-1 1 0 0,1 1-1 0 0,-1 0 0 0 0,0 0 0 0 0,0-1 0 0 0,1 1 1 0 0,-1 0-1 0 0,0 0 0 0 0,0 0 0 0 0,0-1 0 0 0,0 1 0 0 0,0 0 1 0 0,0 1-1 0 0,3 28 32 0 0,-3-26-26 0 0,0-3 11 0 0,2 35 106 0 0,-1 1 0 0 0,-6 51 0 0 0,3-76-93 0 0,-1-1 0 0 0,-1 1 0 0 0,0-1 0 0 0,0 0-1 0 0,-1 0 1 0 0,-9 14 0 0 0,-42 59 151 0 0,50-75-123 0 0,-11 13 228 0 0,19-34-596 0 0,2 4 320 0 0,1-1-1 0 0,0 1 0 0 0,1-1 0 0 0,-1 1 0 0 0,12-11 0 0 0,42-38 311 0 0,-25 24-257 0 0,94-77 150 0 0,-128 110-202 0 0,15-9 37 0 0,-15 8-44 0 0,0 1-1 0 0,0 0 1 0 0,1 0-1 0 0,-1 0 0 0 0,0 0 1 0 0,0 0-1 0 0,1-1 0 0 0,-1 1 1 0 0,0 0-1 0 0,0 0 1 0 0,1 0-1 0 0,-1 0 0 0 0,0 0 1 0 0,1 0-1 0 0,-1 0 0 0 0,0 0 1 0 0,0 0-1 0 0,1 0 0 0 0,-1 0 1 0 0,0 0-1 0 0,1 0 1 0 0,-1 0-1 0 0,0 0 0 0 0,0 1 1 0 0,1-1-1 0 0,-1 0 0 0 0,0 0 1 0 0,0 0-1 0 0,1 0 0 0 0,-1 0 1 0 0,0 1-1 0 0,0-1 1 0 0,0 0-1 0 0,1 0 0 0 0,-1 0 1 0 0,0 1-1 0 0,0-1 0 0 0,0 0 1 0 0,1 0-1 0 0,-1 1 1 0 0,0-1-1 0 0,0 0 0 0 0,0 0 1 0 0,0 1-1 0 0,0-1 0 0 0,0 0 1 0 0,0 1-1 0 0,0-1 0 0 0,0 0 1 0 0,0 0-1 0 0,0 1 1 0 0,0-1-1 0 0,0 0 0 0 0,0 1 1 0 0,0-1-1 0 0,0 4-36 0 0,0 6 71 0 0,0 0 0 0 0,0-1 1 0 0,-1 1-1 0 0,0-1 0 0 0,-1 1 0 0 0,-6 18 1 0 0,-7 3 52 0 0,-2 0 0 0 0,0 0 1 0 0,-41 50-1 0 0,32-46-32 0 0,-9 9 38 0 0,22-29 15 0 0,1 0 0 0 0,-17 29-1 0 0,38-49-829 0 0,11-12 633 0 0,201-172 692 0 0,-174 149-539 0 0,-13 12-38 0 0,1 2 0 0 0,59-34 1 0 0,-96 78-504 0 0,-2-8 517 0 0,-1 1 0 0 0,0-1 0 0 0,-1 0 0 0 0,0 0 0 0 0,0-1 0 0 0,-1 0 0 0 0,0 0 0 0 0,-14 12 0 0 0,-8 12 38 0 0,23-26-65 0 0,-388 488 217 0 0,385-483-215 0 0,0-1 6 0 0,1 1 0 0 0,0-1 0 0 0,1 2 0 0 0,-9 16 0 0 0,14-19 18 0 0,3-8-81 0 0,4-6-245 0 0,163-174-117 0 0,-67 74 589 0 0,13-13-12 0 0,6 4 0 0 0,163-119 0 0 0,-268 220-172 0 0,2 1-1 0 0,27-14 1 0 0,-44 25 5 0 0,0 0 0 0 0,0 0 0 0 0,0 0 0 0 0,1 0 0 0 0,-1-1 0 0 0,0 1 0 0 0,0 0 0 0 0,0 0 0 0 0,0 0 1 0 0,1 0-1 0 0,-1 0 0 0 0,0 0 0 0 0,0 0 0 0 0,0 0 0 0 0,1 0 0 0 0,-1 0 0 0 0,0 0 0 0 0,0 0 0 0 0,0 0 0 0 0,1 0 0 0 0,-1 0 1 0 0,0 0-1 0 0,0 0 0 0 0,0 0 0 0 0,1 0 0 0 0,-1 0 0 0 0,0 0 0 0 0,0 0 0 0 0,0 0 0 0 0,1 0 0 0 0,-1 0 0 0 0,0 1 0 0 0,0-1 1 0 0,0 0-1 0 0,0 0 0 0 0,0 0 0 0 0,1 0 0 0 0,-1 0 0 0 0,0 0 0 0 0,0 1 0 0 0,0-1 0 0 0,0 0 0 0 0,0 0 0 0 0,0 0 1 0 0,1 1-1 0 0,-1-1 0 0 0,0 0 0 0 0,0 0 0 0 0,0 0 0 0 0,0 0 0 0 0,0 1 0 0 0,0-1 0 0 0,0 0 0 0 0,0 0 0 0 0,0 0 0 0 0,0 1 1 0 0,0-1-1 0 0,0 0 0 0 0,0 0 0 0 0,0 1 0 0 0,-4 13-199 0 0,-1-3 218 0 0,0-1-1 0 0,0 0 1 0 0,-1-1-1 0 0,0 1 1 0 0,-10 10-1 0 0,-43 44 122 0 0,22-24-60 0 0,-560 659 97 0 0,552-641-107 0 0,-28 39 88 0 0,48-56-91 0 0,23-36-60 0 0,-1 3-38 0 0,19-19-295 0 0,382-372 204 0 0,-154 144 344 0 0,297-248 227 0 0,-519 469-475 0 0,30-18 0 0 0,-52 36 30 0 0,0 0 0 0 0,0 0 0 0 0,0 0 0 0 0,0 0 0 0 0,0 0 0 0 0,0 1 0 0 0,0-1 0 0 0,0 0 0 0 0,0 0 0 0 0,0 0 1 0 0,0 0-1 0 0,0 0 0 0 0,0 0 0 0 0,0 0 0 0 0,0 0 0 0 0,0 0 0 0 0,0 0 0 0 0,0 0 0 0 0,1 0 0 0 0,-1 1 0 0 0,0-1 0 0 0,0 0 0 0 0,0 0 0 0 0,0 0 1 0 0,0 0-1 0 0,0 0 0 0 0,0 0 0 0 0,0 0 0 0 0,0 0 0 0 0,0 0 0 0 0,1 0 0 0 0,-1 0 0 0 0,0 0 0 0 0,0 0 0 0 0,0 0 0 0 0,0 0 0 0 0,0 0 0 0 0,0 0 0 0 0,0 0 1 0 0,0 0-1 0 0,0 0 0 0 0,1 0 0 0 0,-1 0 0 0 0,0 0 0 0 0,0 0 0 0 0,0 0 0 0 0,0 0 0 0 0,0 0 0 0 0,0-1 0 0 0,0 1 0 0 0,0 0 0 0 0,0 0 0 0 0,0 0 1 0 0,0 0-1 0 0,1 0 0 0 0,-1 0 0 0 0,0 0 0 0 0,0 2 19 0 0,0-1 1 0 0,-1 1-1 0 0,1 0 1 0 0,0 0-1 0 0,-1 0 1 0 0,1-1-1 0 0,-1 1 0 0 0,0 0 1 0 0,1 0-1 0 0,-3 2 1 0 0,-7 11 163 0 0,-1 0-1 0 0,-1 0 1 0 0,-21 21 0 0 0,3-3-128 0 0,-453 525 54 0 0,4-6-86 0 0,444-509-5 0 0,29-37-24 0 0,5-9-18 0 0,15-19-121 0 0,55-54-277 0 0,457-457 719 0 0,40 44-91 0 0,-534 464-196 0 0,36-26-16 0 0,-56 45-36 0 0,-10 9-61 0 0,-6 6-101 0 0,-7 9 241 0 0,-2 1-1 0 0,0-2 1 0 0,-1 1 0 0 0,0-2 0 0 0,-28 24-1 0 0,-5 7-48 0 0,-531 595 100 0 0,41-43-49 0 0,515-576-26 0 0,-47 46 74 0 0,65-67-66 0 0,7-11-83 0 0,3-5-15 0 0,1 1 1 0 0,1-1 0 0 0,0 1-1 0 0,10-12 1 0 0,48-53 95 0 0,-57 69-10 0 0,857-914 358 0 0,-605 652-269 0 0,-142 143-69 0 0,-98 106-62 0 0,-18 20-51 0 0,-3 6-39 0 0,-1 2 127 0 0,-1 0 0 0 0,0-1 0 0 0,0 1-1 0 0,0-1 1 0 0,0 1 0 0 0,-1-1-1 0 0,0 0 1 0 0,0 0 0 0 0,-1 0-1 0 0,1 0 1 0 0,-1-1 0 0 0,-8 9 0 0 0,-2 3 53 0 0,-699 873 141 0 0,415-507-195 0 0,230-297 20 0 0,-94 127 177 0 0,150-190-92 0 0,10-15-73 0 0,7-10-76 0 0,62-57-400 0 0,52-48 387 0 0,44-36 179 0 0,811-752 194 0 0,-660 572-261 0 0,-252 251-53 0 0,-61 72-6 0 0,-15 18 46 0 0,-24 22-1 0 0,6-7 68 0 0,-315 373 20 0 0,277-318-129 0 0,-69 84 9 0 0,-323 388 68 0 0,249-308-53 0 0,-294 332-93 0 0,503-580 61 0 0,6-12-79 0 0,2-3 15 0 0,-1 1 1 0 0,2 0-1 0 0,0-1 0 0 0,0 2 1 0 0,11-16-1 0 0,46-58 31 0 0,-57 78 40 0 0,117-145 50 0 0,428-451 319 0 0,34 28-356 0 0,-571 563-18 0 0,77-81 10 0 0,-88 90-63 0 0,-2 8-78 0 0,-6 12-145 0 0,-16 12 342 0 0,-1-1 0 0 0,-39 38 0 0 0,29-32-33 0 0,-126 136 88 0 0,-365 385 19 0 0,417-447-68 0 0,-143 141-93 0 0,-9-17-26 0 0,242-219 84 0 0,-29 18 0 0 0,45-32-31 0 0,-1 2 6 0 0,0-1 0 0 0,-1 1 1 0 0,1-1-1 0 0,0 0 0 0 0,-1 0 0 0 0,1 0 1 0 0,0-1-1 0 0,-1 1 0 0 0,-3 0 0 0 0,5-1-4 0 0,1 0-1 0 0,-1 0 1 0 0,1 0-1 0 0,0 0 0 0 0,-1 0 1 0 0,1 0-1 0 0,0-1 1 0 0,-1 1-1 0 0,1 0 0 0 0,0 0 1 0 0,-1 0-1 0 0,1-1 1 0 0,0 1-1 0 0,-1 0 0 0 0,1-1 1 0 0,0 1-1 0 0,0 0 1 0 0,-1 0-1 0 0,1-1 0 0 0,0 1 1 0 0,0 0-1 0 0,0-1 1 0 0,-1 1-1 0 0,1-1 0 0 0,-2-19 60 0 0,3 10-86 0 0,0-1 1 0 0,1 0 0 0 0,0 0-1 0 0,1 1 1 0 0,0-1-1 0 0,8-16 1 0 0,40-68 107 0 0,74-102-3 0 0,8 5 1 0 0,275-305 0 0 0,-288 376-39 0 0,-118 119-62 0 0,9-9-17 0 0,-9 12-87 0 0,-8 8-179 0 0,-22 31 306 0 0,-3-1 0 0 0,-38 37 0 0 0,5-4 29 0 0,-662 772 100 0 0,595-700-154 0 0,94-107 45 0 0,25-31 6 0 0,12-6-28 0 0,0 0-1 0 0,-1 0 0 0 0,1 0 0 0 0,0 0 0 0 0,0 0 1 0 0,-1 0-1 0 0,1 0 0 0 0,0 0 0 0 0,0 0 0 0 0,0 0 1 0 0,-1 0-1 0 0,1 0 0 0 0,0 0 0 0 0,0 0 0 0 0,-1 0 1 0 0,1-1-1 0 0,0 1 0 0 0,0 0 0 0 0,0 0 0 0 0,-1 0 1 0 0,1 0-1 0 0,0 0 0 0 0,0-1 0 0 0,0 1 0 0 0,0 0 1 0 0,0 0-1 0 0,-1 0 0 0 0,1 0 0 0 0,0-1 0 0 0,0 1 1 0 0,-1-2-8 0 0,1 0 1 0 0,0-1-1 0 0,0 1 1 0 0,0 0 0 0 0,0 0-1 0 0,0 0 1 0 0,0-1-1 0 0,0 1 1 0 0,1 0-1 0 0,0-3 1 0 0,3-10-68 0 0,0 0 1 0 0,2-1-1 0 0,0 2 1 0 0,8-16-1 0 0,41-64 196 0 0,33-38 41 0 0,120-138 0 0 0,-126 176-169 0 0,5 4-1 0 0,99-79 1 0 0,-162 149-43 0 0,42-26 0 0 0,-66 46 43 0 0,0 0 1 0 0,0 0-1 0 0,0 0 1 0 0,0 0-1 0 0,0 0 1 0 0,0 0-1 0 0,0 1 1 0 0,1-1-1 0 0,-1 0 1 0 0,0 0-1 0 0,0 0 1 0 0,0 0-1 0 0,0 0 1 0 0,0 0-1 0 0,0 0 1 0 0,0 1-1 0 0,0-1 1 0 0,0 0-1 0 0,0 0 1 0 0,0 0-1 0 0,0 0 1 0 0,0 0-1 0 0,1 0 1 0 0,-1 0-1 0 0,0 0 1 0 0,0 0-1 0 0,0 0 1 0 0,0 1-1 0 0,0-1 1 0 0,0 0-1 0 0,0 0 1 0 0,1 0-1 0 0,-1 0 1 0 0,0 0-1 0 0,0 0 1 0 0,0 0-1 0 0,0 0 1 0 0,0 0-1 0 0,0 0 1 0 0,1 0-1 0 0,-1 0 1 0 0,0 0-1 0 0,0 0 1 0 0,0 0-1 0 0,0 0 1 0 0,0 0-1 0 0,0 0 1 0 0,1-1-1 0 0,-1 1 1 0 0,0 0-1 0 0,0 0 1 0 0,0 0-1 0 0,0 0 1 0 0,0 0-1 0 0,0 0 1 0 0,0 0-1 0 0,1 0 0 0 0,-2 4-30 0 0,1 0 0 0 0,0 0-1 0 0,-1 0 1 0 0,0 1 0 0 0,0-1-1 0 0,0 0 1 0 0,-1 0 0 0 0,-2 6-1 0 0,-23 33 160 0 0,23-38-114 0 0,-206 291 236 0 0,-86 153-27 0 0,28 14-110 0 0,245-417-80 0 0,30-56-188 0 0,0 1 0 0 0,14-17 0 0 0,8-9 23 0 0,181-212 337 0 0,11 9 0 0 0,341-287 0 0 0,-494 467-205 0 0,-7 6-10 0 0,96-63 0 0 0,-155 114-65 0 0,-4 6 11 0 0,-7 12 161 0 0,0-1 1 0 0,-2 0-1 0 0,-20 25 0 0 0,21-28-42 0 0,-330 461 289 0 0,23 20-402 0 0,-211 300 70 0 0,511-773 11 0 0,11-16 23 0 0,6-5-39 0 0,0 0-1 0 0,0 0 1 0 0,0 0-1 0 0,-1 0 1 0 0,1 0-1 0 0,0 0 0 0 0,0 0 1 0 0,0 0-1 0 0,0 0 1 0 0,0 0-1 0 0,0 0 1 0 0,0 0-1 0 0,0 0 0 0 0,0 0 1 0 0,0 0-1 0 0,-1 0 1 0 0,1 0-1 0 0,0 0 1 0 0,0-1-1 0 0,0 1 0 0 0,0 0 1 0 0,0 0-1 0 0,0 0 1 0 0,0 0-1 0 0,0 0 1 0 0,0 0-1 0 0,0 0 0 0 0,0 0 1 0 0,0 0-1 0 0,0 0 1 0 0,0-1-1 0 0,0 1 1 0 0,0 0-1 0 0,0 0 0 0 0,0 0 1 0 0,0 0-1 0 0,0 0 1 0 0,0 0-1 0 0,0 0 1 0 0,0 0-1 0 0,0 0 0 0 0,0-1 1 0 0,0 1-1 0 0,0 0 1 0 0,0 0-1 0 0,0 0 1 0 0,0 0-1 0 0,0 0 0 0 0,0 0 1 0 0,0 0-1 0 0,0 0 1 0 0,0 0-1 0 0,0 0 1 0 0,1 0-1 0 0,-1-1 0 0 0,0 1 1 0 0,0 0-1 0 0,5-17-67 0 0,1 1-1 0 0,1-1 0 0 0,15-27 0 0 0,42-55 28 0 0,52-68 161 0 0,38-38-19 0 0,448-522 175 0 0,34 22-184 0 0,-465 518-227 0 0,-90 96 34 0 0,-79 89-3 0 0,-2 9-14 0 0,-1 1 99 0 0,-1 0 0 0 0,0-1 0 0 0,0 1 1 0 0,-1-1-1 0 0,0 1 0 0 0,-6 10 0 0 0,-33 48 123 0 0,35-58-98 0 0,-165 245 111 0 0,-92 134 83 0 0,-153 190-216 0 0,-22 33-116 0 0,166-240 183 0 0,232-321-4 0 0,32-42-16 0 0,9-7-34 0 0,0 0 1 0 0,0 0-1 0 0,0 0 1 0 0,-1 0 0 0 0,1 0-1 0 0,0 0 1 0 0,0 0-1 0 0,0 0 1 0 0,0 0 0 0 0,0 0-1 0 0,0 0 1 0 0,0 0-1 0 0,-1 0 1 0 0,1 0-1 0 0,0 0 1 0 0,0 0 0 0 0,0 0-1 0 0,0 0 1 0 0,0 0-1 0 0,0 0 1 0 0,0 0-1 0 0,0-1 1 0 0,-1 1 0 0 0,1 0-1 0 0,0 0 1 0 0,0 0-1 0 0,0 0 1 0 0,0 0-1 0 0,0 0 1 0 0,0 0 0 0 0,0 0-1 0 0,0-1 1 0 0,0 1-1 0 0,0 0 1 0 0,0 0-1 0 0,0 0 1 0 0,0 0 0 0 0,0 0-1 0 0,0 0 1 0 0,0-1-1 0 0,0 1 1 0 0,0 0 0 0 0,0 0-1 0 0,0-3-5 0 0,0 0-1 0 0,0 0 1 0 0,0 0 0 0 0,1 0-1 0 0,-1 0 1 0 0,1 0 0 0 0,0 0-1 0 0,0 0 1 0 0,0 0 0 0 0,0 1-1 0 0,0-1 1 0 0,3-4 0 0 0,62-100-270 0 0,46-55 299 0 0,42-45 139 0 0,689-827 194 0 0,-647 802-306 0 0,-24 34-144 0 0,-41 39 4 0 0,34-32-55 0 0,-133 153 78 0 0,-26 33-71 0 0,-5 8 40 0 0,-9 16-19 0 0,-67 85 350 0 0,27-40-169 0 0,-660 879 252 0 0,443-605-377 0 0,-277 357-56 0 0,310-405 234 0 0,215-273-8 0 0,17-17-109 0 0,-1 0-1 0 0,1 0 0 0 0,0 0 1 0 0,0 0-1 0 0,0 0 0 0 0,0 0 1 0 0,0 0-1 0 0,0 0 0 0 0,0 0 1 0 0,0-1-1 0 0,-1 1 0 0 0,1 0 1 0 0,0 0-1 0 0,0 0 0 0 0,0 0 1 0 0,0 0-1 0 0,0 0 0 0 0,0 0 0 0 0,0 0 1 0 0,0 0-1 0 0,0-1 0 0 0,0 1 1 0 0,0 0-1 0 0,0 0 0 0 0,0 0 1 0 0,0 0-1 0 0,0 0 0 0 0,0 0 1 0 0,0-1-1 0 0,0 1 0 0 0,0 0 1 0 0,0 0-1 0 0,0 0 0 0 0,0 0 1 0 0,0 0-1 0 0,0 0 0 0 0,0 0 1 0 0,0-1-1 0 0,0 1 0 0 0,0 0 1 0 0,0 0-1 0 0,0 0 0 0 0,0 0 0 0 0,0 0 1 0 0,0 0-1 0 0,0 0 0 0 0,1 0 1 0 0,-1-1-1 0 0,0 1 0 0 0,8-18-73 0 0,46-70-282 0 0,50-57 278 0 0,52-53 173 0 0,43-43-8 0 0,777-872 344 0 0,-756 885-546 0 0,-41 42-127 0 0,-46 52-9 0 0,11 3-127 0 0,-135 126-40 0 0,-8 10 235 0 0,-11 16 48 0 0,-47 47 377 0 0,-323 429 31 0 0,319-413-231 0 0,-278 398 59 0 0,-50 68-20 0 0,264-377-76 0 0,-279 361 170 0 0,375-499 101 0 0,26-31-161 0 0,5-13-69 0 0,3-4-83 0 0,0 0 0 0 0,0 0 1 0 0,1 1-1 0 0,12-17 0 0 0,40-50-54 0 0,-40 55 87 0 0,114-144 83 0 0,39-42 5 0 0,505-558 221 0 0,57 52-441 0 0,-561 568-151 0 0,-169 146 291 0 0,23-20-130 0 0,-24 21 75 0 0,-3 3 5 0 0,-15 15-9 0 0,-54 55 323 0 0,-131 141-159 0 0,-330 437 106 0 0,264-314-240 0 0,11-17 5 0 0,-140 171 3 0 0,270-334 92 0 0,-23 26 416 0 0,204-257-833 0 0,53-47 189 0 0,50-50 165 0 0,37-43 73 0 0,1366-1354 84 0 0,-1358 1387-679 0 0,-162 144 402 0 0,-133 126 475 0 0,-67 68-306 0 0,-282 353 45 0 0,27 31-137 0 0,-29 34 126 0 0,276-380 35 0 0,130-152-9 0 0,40-52-26 0 0,14-18-152 0 0,66-71-149 0 0,41-50 178 0 0,39-40 142 0 0,975-947-8 0 0,-937 965-123 0 0,-40 35-160 0 0,26-24-337 0 0,-156 132 407 0 0,-38 39 127 0 0,-1-1 0 0 0,0 0 1 0 0,0 0-1 0 0,0-1 0 0 0,-19 16 1 0 0,-9 8 71 0 0,-274 287-55 0 0,14 13 1 0 0,-277 407-1 0 0,509-649-20 0 0,-204 285 304 0 0,-11-19 2 0 0,262-340-235 0 0,17-17-89 0 0,0 0 0 0 0,0 0 1 0 0,0 0-1 0 0,0 0 0 0 0,0 0 0 0 0,0 0 0 0 0,0 0 0 0 0,0 0 0 0 0,0 0 0 0 0,0 0 0 0 0,0 0 0 0 0,0 0 0 0 0,0 0 0 0 0,0 0 1 0 0,0 0-1 0 0,0-1 0 0 0,-1 1 0 0 0,1 0 0 0 0,0 0 0 0 0,0 0 0 0 0,0 0 0 0 0,0 0 0 0 0,0 0 0 0 0,0 0 0 0 0,0 0 0 0 0,0 0 0 0 0,0 0 1 0 0,0 0-1 0 0,0 0 0 0 0,0 0 0 0 0,0 0 0 0 0,0 0 0 0 0,0 0 0 0 0,0 0 0 0 0,0 0 0 0 0,0 0 0 0 0,-1 0 0 0 0,1 0 0 0 0,0 0 1 0 0,0 0-1 0 0,0 0 0 0 0,0 0 0 0 0,0 0 0 0 0,0 0 0 0 0,0 0 0 0 0,0 0 0 0 0,0 0 0 0 0,9-15-66 0 0,47-61-220 0 0,47-52 206 0 0,40-48 120 0 0,41-43-29 0 0,135-134-79 0 0,14 14 1 0 0,425-333-1 0 0,-616 556-273 0 0,11-13-123 0 0,-158 138 442 0 0,-134 152 625 0 0,75-90-592 0 0,-499 570 32 0 0,29 27-3 0 0,304-357 18 0 0,211-286-18 0 0,17-22-25 0 0,3-5-9 0 0,30-45-120 0 0,53-61 23 0 0,44-45 94 0 0,487-509 126 0 0,42 42-159 0 0,-654 618 25 0 0,123-116-316 0 0,-117 109 284 0 0,-7 9-41 0 0,-12 16-76 0 0,-37 40 262 0 0,-57 51 0 0 0,15-16-92 0 0,-381 446-8 0 0,52 41 146 0 0,268-338-71 0 0,135-217-74 0 0,11-16-5 0 0,0-1-1 0 0,0 1 0 0 0,1 0 0 0 0,-1 0 0 0 0,2 0 0 0 0,-1 0 1 0 0,-3 14-1 0 0,18-35-97 0 0,54-62-132 0 0,45-49 180 0 0,908-919 337 0 0,-946 975-258 0 0,118-122-55 0 0,-187 188 17 0 0,-1 0 0 0 0,0 0 0 0 0,0-1 0 0 0,0 0 0 0 0,-1 1 0 0 0,1-1 1 0 0,-1 0-1 0 0,0 0 0 0 0,0 0 0 0 0,0-1 0 0 0,1-6 0 0 0,-3 11 10 0 0,0-1-1 0 0,0 1 0 0 0,0 0 1 0 0,0 0-1 0 0,0-1 1 0 0,0 1-1 0 0,0 0 1 0 0,0 0-1 0 0,-1-1 1 0 0,1 1-1 0 0,0 0 1 0 0,0 0-1 0 0,0 0 0 0 0,-1-1 1 0 0,1 1-1 0 0,0 0 1 0 0,0 0-1 0 0,0 0 1 0 0,-1 0-1 0 0,1 0 1 0 0,0 0-1 0 0,0-1 1 0 0,-1 1-1 0 0,1 0 1 0 0,0 0-1 0 0,0 0 0 0 0,-1 0 1 0 0,1 0-1 0 0,0 0 1 0 0,0 0-1 0 0,-1 0 1 0 0,1 0-1 0 0,0 0 1 0 0,0 0-1 0 0,-1 0 1 0 0,1 0-1 0 0,0 0 0 0 0,-1 1 1 0 0,-13 0 75 0 0,13-1-67 0 0,-15 3 22 0 0,1 1 0 0 0,0 0 0 0 0,0 1 0 0 0,0 1 0 0 0,-19 10 0 0 0,-71 46 62 0 0,87-51-95 0 0,-45 29-19 0 0,-65 38 18 0 0,123-75-16 0 0,1-1 16 0 0,0 1-1 0 0,-1-1 0 0 0,1 0 0 0 0,-1 0 1 0 0,1 0-1 0 0,-1-1 0 0 0,-6 2 1 0 0,10-3-1 0 0,0 0 1 0 0,0 0 0 0 0,0 0-1 0 0,1 0 1 0 0,-1-1 0 0 0,0 1 0 0 0,0 0-1 0 0,0 0 1 0 0,0 0 0 0 0,1-1-1 0 0,-1 1 1 0 0,0 0 0 0 0,0-1-1 0 0,1 1 1 0 0,-1-1 0 0 0,0 1-1 0 0,1-1 1 0 0,-1 1 0 0 0,-1-2 0 0 0,1 1-4 0 0,0-1 0 0 0,0 0 1 0 0,1 1-1 0 0,-1-1 1 0 0,0 0-1 0 0,0 0 1 0 0,1 1-1 0 0,-1-1 1 0 0,1 0-1 0 0,0 0 0 0 0,-1 0 1 0 0,1-3-1 0 0,0-13-44 0 0,1-1-1 0 0,0 1 0 0 0,1-1 1 0 0,1 1-1 0 0,1-1 0 0 0,1 1 1 0 0,11-29-1 0 0,65-127-61 0 0,-48 109 52 0 0,82-153-49 0 0,-53 106 112 0 0,68-171 1 0 0,-99 185 37 0 0,-28 85-39 0 0,-1 0 0 0 0,0-1-1 0 0,-1 1 1 0 0,0 0-1 0 0,-2-18 1 0 0,1 30-1 0 0,0-1-1 0 0,0 1 1 0 0,-1-1 0 0 0,1 1 0 0 0,0-1-1 0 0,0 1 1 0 0,-1 0 0 0 0,1-1-1 0 0,-1 1 1 0 0,0 0 0 0 0,1-1-1 0 0,-1 1 1 0 0,0 0 0 0 0,0 0 0 0 0,1-1-1 0 0,-1 1 1 0 0,0 0 0 0 0,0 0-1 0 0,0 0 1 0 0,0 0 0 0 0,-1 0 0 0 0,1 1-1 0 0,-2-2 1 0 0,-1 0 11 0 0,0 1 0 0 0,-1 0 1 0 0,1 0-1 0 0,0 0 0 0 0,0 1 0 0 0,-8-1 0 0 0,6 1-2 0 0,-14 0 5 0 0,0 1 0 0 0,0 0-1 0 0,0 2 1 0 0,1 0 0 0 0,-1 2-1 0 0,1 0 1 0 0,-1 1 0 0 0,-19 9-1 0 0,-22 12-15 0 0,-64 41 0 0 0,-363 262-19 0 0,441-295 10 0 0,-119 90 32 0 0,-84 60 105 0 0,208-158-98 0 0,32-25-40 0 0,7-8-20 0 0,10-17-112 0 0,13-12 87 0 0,1 1 0 0 0,2 2 0 0 0,28-33 1 0 0,554-617 73 0 0,-587 662-27 0 0,-3 6 9 0 0,-1-2 0 0 0,13-17 0 0 0,-26 31-3 0 0,2-4-102 0 0,-16 9-100 0 0,-31 18 246 0 0,-79 50 1 0 0,-43 45-28 0 0,-407 344 113 0 0,409-323-62 0 0,141-117-49 0 0,17-14-4 0 0,0 0 1 0 0,-1-1-1 0 0,0 0 0 0 0,-12 7 1 0 0,17-13-8 0 0,5-8-80 0 0,5-9 11 0 0,1 1 0 0 0,0-1 0 0 0,2 2 0 0 0,0 0 0 0 0,0 0 0 0 0,16-15 0 0 0,-19 21 64 0 0,725-831 111 0 0,-719 827-114 0 0,7-7 0 0 0,20-28 0 0 0,-76 69-328 0 0,-343 255 660 0 0,11 29-248 0 0,159-113-18 0 0,68-60 23 0 0,135-128-54 0 0,5-6-30 0 0,0 1-24 0 0,0 0-1 0 0,0-1 1 0 0,1 1 0 0 0,-1 0-1 0 0,1 0 1 0 0,0-1-1 0 0,0 1 1 0 0,-1 0 0 0 0,1 0-1 0 0,3-4 1 0 0,20-31-133 0 0,50-58-1 0 0,-43 58 186 0 0,26-33 4 0 0,498-586 62 0 0,-480 575-134 0 0,-110 105-603 0 0,-447 357 941 0 0,343-259-142 0 0,-166 189 0 0 0,269-269-276 0 0,188-219-358 0 0,-89 107 524 0 0,663-689 214 0 0,-695 728-239 0 0,-28 29-202 0 0,-3 5 74 0 0,-8 9-7 0 0,-116 111 394 0 0,37-42-228 0 0,-7 15 19 0 0,5 4 1 0 0,-127 182-1 0 0,214-278-73 0 0,-11 14 16 0 0,1 0 1 0 0,2 1-1 0 0,0 0 0 0 0,-9 25 0 0 0,18-42-25 0 0,0 0 5 0 0,1 0 1 0 0,-1 0-1 0 0,1-1 1 0 0,-1 1-1 0 0,1 0 0 0 0,0 0 1 0 0,0 0-1 0 0,0 0 1 0 0,0 3-1 0 0,0-5 0 0 0,0 0-1 0 0,0 1 1 0 0,0-1-1 0 0,0 0 1 0 0,0 0-1 0 0,1 1 1 0 0,-1-1 0 0 0,0 0-1 0 0,0 0 1 0 0,0 1-1 0 0,1-1 1 0 0,-1 0-1 0 0,0 0 1 0 0,0 1-1 0 0,1-1 1 0 0,-1 0-1 0 0,0 0 1 0 0,0 0 0 0 0,1 0-1 0 0,-1 0 1 0 0,0 1-1 0 0,0-1 1 0 0,1 0-1 0 0,-1 0 1 0 0,0 0-1 0 0,1 0 1 0 0,-1 0-1 0 0,18-4-121 0 0,19-16-45 0 0,-1-1 0 0 0,64-48 0 0 0,-94 65 173 0 0,218-160 96 0 0,522-367 196 0 0,-629 451-289 0 0,116-73 64 0 0,-232 152-73 0 0,9-3-62 0 0,-10 4 55 0 0,0 1 0 0 0,0-1 0 0 0,0 0 1 0 0,1 1-1 0 0,-1-1 0 0 0,0 0 0 0 0,0 1 1 0 0,0-1-1 0 0,0 0 0 0 0,0 1 1 0 0,0-1-1 0 0,0 0 0 0 0,0 1 0 0 0,0-1 1 0 0,0 1-1 0 0,0-1 0 0 0,0 0 0 0 0,0 1 1 0 0,-1-1-1 0 0,1 0 0 0 0,0 1 0 0 0,0-1 1 0 0,0 0-1 0 0,0 1 0 0 0,-1-1 0 0 0,1 0 1 0 0,0 0-1 0 0,0 1 0 0 0,-1-1 0 0 0,-8 17 49 0 0,-2-1-1 0 0,0 0 1 0 0,0-1-1 0 0,-1 0 1 0 0,-1-1-1 0 0,-17 15 1 0 0,-10 12-31 0 0,-339 373 95 0 0,27 18-45 0 0,339-414-45 0 0,0 1 1 0 0,-17 32-1 0 0,29-48-40 0 0,8-10-86 0 0,680-593-63 0 0,-120 165 387 0 0,-542 416-196 0 0,-24 18-21 0 0,-1 0 0 0 0,1 1 1 0 0,0-1-1 0 0,0 0 1 0 0,0 1-1 0 0,0-1 0 0 0,-1 0 1 0 0,1 1-1 0 0,0-1 1 0 0,0 1-1 0 0,0-1 1 0 0,0 1-1 0 0,1 0 0 0 0,-1-1 1 0 0,1 1-1 0 0,-18 18 64 0 0,-111 96 218 0 0,39-38-188 0 0,65-54-89 0 0,-374 339 22 0 0,19 17 9 0 0,351-350-23 0 0,10-11-17 0 0,0 1 0 0 0,-21 32-1 0 0,31-35 25 0 0,7-15-17 0 0,0 0 0 0 0,0 0 0 0 0,0 0 1 0 0,0 0-1 0 0,0 0 0 0 0,0 0 0 0 0,0 0 0 0 0,0 1 0 0 0,0-1 1 0 0,0 0-1 0 0,0 0 0 0 0,0 0 0 0 0,0 0 0 0 0,0 0 1 0 0,0 0-1 0 0,0 1 0 0 0,0-1 0 0 0,0 0 0 0 0,0 0 0 0 0,0 0 1 0 0,0 0-1 0 0,0 0 0 0 0,0 0 0 0 0,0 0 0 0 0,0 0 0 0 0,1 1 1 0 0,-1-1-1 0 0,0 0 0 0 0,0 0 0 0 0,0 0 0 0 0,0 0 0 0 0,0 0 1 0 0,0 0-1 0 0,0 0 0 0 0,0 0 0 0 0,0 0 0 0 0,1 0 1 0 0,-1 0-1 0 0,0 0 0 0 0,0 0 0 0 0,0 0 0 0 0,0 0 0 0 0,0 0 1 0 0,0 0-1 0 0,0 0 0 0 0,1 0 0 0 0,12-6-208 0 0,496-364-100 0 0,7-3 536 0 0,127-40-1 0 0,-632 406-226 0 0,-3 2-12 0 0,0 0 1 0 0,1 1-1 0 0,0 0 1 0 0,0 0-1 0 0,12-3 1 0 0,-21 7 9 0 0,0 0 0 0 0,0 0 0 0 0,0 0 0 0 0,0 0-1 0 0,1 0 1 0 0,-1 0 0 0 0,0 0 0 0 0,0 0 0 0 0,0 0 0 0 0,0 0 0 0 0,0 0-1 0 0,1 0 1 0 0,-1 0 0 0 0,0 0 0 0 0,0 0 0 0 0,0 0 0 0 0,0 0 0 0 0,0 0-1 0 0,1 0 1 0 0,-1 0 0 0 0,0 0 0 0 0,0 0 0 0 0,0 0 0 0 0,0 0 0 0 0,0 1-1 0 0,1-1 1 0 0,-1 0 0 0 0,0 0 0 0 0,0 0 0 0 0,0 0 0 0 0,0 0 0 0 0,0 0-1 0 0,0 0 1 0 0,0 1 0 0 0,0-1 0 0 0,0 0 0 0 0,1 0 0 0 0,-1 0 0 0 0,0 0-1 0 0,0 0 1 0 0,0 0 0 0 0,0 1 0 0 0,0-1 0 0 0,0 0 0 0 0,0 0 0 0 0,0 0-1 0 0,0 0 1 0 0,0 0 0 0 0,0 1 0 0 0,0-1 0 0 0,0 0 0 0 0,0 0 0 0 0,0 0-1 0 0,0 0 1 0 0,0 1 0 0 0,0-1 0 0 0,0 0 0 0 0,0 0 0 0 0,-1 0 0 0 0,1 0-1 0 0,0 0 1 0 0,0 0 0 0 0,0 1 0 0 0,0-1 0 0 0,0 0 0 0 0,0 3-14 0 0,-1 1-1 0 0,1-1 1 0 0,-1 1 0 0 0,0-1 0 0 0,1 0 0 0 0,-1 1 0 0 0,-1-1 0 0 0,1 0 0 0 0,0 0 0 0 0,-1 0 0 0 0,0 0-1 0 0,-3 5 1 0 0,-5 4 60 0 0,-21 20 0 0 0,30-31-42 0 0,-498 446 223 0 0,236-218-240 0 0,156-135 22 0 0,-270 249 24 0 0,342-308-39 0 0,434-346-226 0 0,-347 274 236 0 0,711-461 218 0 0,34 61 181 0 0,-616 344-422 0 0,-130 67 2 0 0,5-3-39 0 0,63-23-1 0 0,-114 50 33 0 0,-1 1-1 0 0,1-1 1 0 0,0 1 0 0 0,0 0-1 0 0,-1 0 1 0 0,9 0 0 0 0,-12 1 20 0 0,-1 0 1 0 0,0 0-1 0 0,0 0 1 0 0,0 0 0 0 0,0 0-1 0 0,1 0 1 0 0,-1 0-1 0 0,0 0 1 0 0,0 0-1 0 0,0 0 1 0 0,1 0-1 0 0,-1 1 1 0 0,0-1 0 0 0,0 0-1 0 0,0 0 1 0 0,0 0-1 0 0,1 0 1 0 0,-1 0-1 0 0,0 0 1 0 0,0 0-1 0 0,0 0 1 0 0,0 1 0 0 0,0-1-1 0 0,1 0 1 0 0,-1 0-1 0 0,0 0 1 0 0,0 0-1 0 0,0 0 1 0 0,0 1-1 0 0,0-1 1 0 0,0 0 0 0 0,0 0-1 0 0,1 1 1 0 0,-6 9-218 0 0,0 0 163 0 0,-2 0 0 0 0,1-1 0 0 0,-2 0 0 0 0,1-1 0 0 0,-15 14 0 0 0,-56 39 169 0 0,-530 339 568 0 0,310-214-490 0 0,-375 293-75 0 0,557-380-109 0 0,148-123-263 0 0,-2 3 181 0 0,84-60 116 0 0,713-442 336 0 0,29 45-207 0 0,-787 441-196 0 0,126-67-69 0 0,-133 75 74 0 0,69-24 1 0 0,-124 51 4 0 0,-7 6-40 0 0,-1-2 44 0 0,0 1 0 0 0,-1 0 0 0 0,1-1 0 0 0,-1 1 0 0 0,1-1 0 0 0,-1 0 0 0 0,0 0 0 0 0,0 1 0 0 0,1-1-1 0 0,-2 0 1 0 0,-1 1 0 0 0,-80 56 56 0 0,-557 340 363 0 0,-16 10-171 0 0,600-371-237 0 0,-370 249-99 0 0,354-233 128 0 0,52-37 4 0 0,19-15-28 0 0,3-2-15 0 0,16-10-78 0 0,71-46-38 0 0,1586-931 630 0 0,-1147 715-640 0 0,-491 254 122 0 0,73-22 0 0 0,-104 39-61 0 0,-10 6-50 0 0,-18 14 38 0 0,-2-1-1 0 0,-51 29 1 0 0,55-35 99 0 0,-254 149 117 0 0,-740 453 635 0 0,902-541-743 0 0,-306 213-77 0 0,395-266 28 0 0,24-17-16 0 0,5-4-9 0 0,44-23-126 0 0,-43 21 182 0 0,415-235 189 0 0,-183 100-53 0 0,396-208-112 0 0,14 36-23 0 0,-622 299 0 0 0,25-11-12 0 0,69-21 0 0 0,-102 41-13 0 0,-17 2 24 0 0,-1 0 0 0 0,0 0-1 0 0,1 0 1 0 0,-1 0 0 0 0,0 0-1 0 0,0 0 1 0 0,1 0 0 0 0,-1 0-1 0 0,0 0 1 0 0,1 0 0 0 0,-1 0 0 0 0,0 1-1 0 0,0-1 1 0 0,1 0 0 0 0,-1 0-1 0 0,0 0 1 0 0,0 0 0 0 0,0 1-1 0 0,1-1 1 0 0,-1 0 0 0 0,0 0-1 0 0,0 1 1 0 0,0-1 0 0 0,1 0-1 0 0,-1 0 1 0 0,0 1 0 0 0,0-1 0 0 0,0 0-1 0 0,0 1 1 0 0,0 0-8 0 0,-1 1 1 0 0,1-1-1 0 0,-1 1 0 0 0,1-1 1 0 0,-1 1-1 0 0,0-1 1 0 0,0 1-1 0 0,1-1 0 0 0,-1 0 1 0 0,0 1-1 0 0,0-1 1 0 0,-1 0-1 0 0,1 0 0 0 0,0 0 1 0 0,0 0-1 0 0,-3 2 0 0 0,-23 17-15 0 0,-32 17 0 0 0,-477 266 256 0 0,127-76 13 0 0,-174 138 76 0 0,21 26-256 0 0,491-339-69 0 0,52-34 18 0 0,20-18-13 0 0,-1 0-1 0 0,0 0 0 0 0,0 0 0 0 0,0 0 1 0 0,0 0-1 0 0,0 0 0 0 0,0 0 0 0 0,0 0 1 0 0,0-1-1 0 0,0 1 0 0 0,0 0 0 0 0,0 0 0 0 0,0 0 1 0 0,0 0-1 0 0,0 0 0 0 0,0 0 0 0 0,0 0 1 0 0,1 0-1 0 0,-1 0 0 0 0,0 0 0 0 0,0 0 1 0 0,0 0-1 0 0,0 0 0 0 0,0 0 0 0 0,0 0 1 0 0,0 0-1 0 0,0 0 0 0 0,0 0 0 0 0,0 0 1 0 0,0 0-1 0 0,0 0 0 0 0,1 0 0 0 0,-1 0 1 0 0,0 0-1 0 0,0 0 0 0 0,0 0 0 0 0,0 0 1 0 0,0 0-1 0 0,0 0 0 0 0,0 0 0 0 0,0 0 1 0 0,0 0-1 0 0,0 0 0 0 0,0 1 0 0 0,0-1 1 0 0,0 0-1 0 0,0 0 0 0 0,0 0 0 0 0,1 0 1 0 0,-1 0-1 0 0,0 0 0 0 0,0 0 0 0 0,0 0 1 0 0,0 0-1 0 0,0 0 0 0 0,0 0 0 0 0,0 0 1 0 0,0 0-1 0 0,0 1 0 0 0,0-1 0 0 0,0 0 1 0 0,18-10-120 0 0,70-45 16 0 0,15-10 147 0 0,463-286 128 0 0,16 18-91 0 0,503-204 32 0 0,-1051 521-117 0 0,101-43 2 0 0,-123 55-19 0 0,-9 6-47 0 0,-23 14-83 0 0,-382 202 243 0 0,221-127-38 0 0,-405 231 73 0 0,23 40-33 0 0,-36 85 6 0 0,555-409-105 0 0,39-33 2 0 0,12-6-40 0 0,13-6 3 0 0,0-1 0 0 0,0-1 0 0 0,-1-1 0 0 0,31-22 0 0 0,-7 5 54 0 0,125-75 51 0 0,44-28 22 0 0,1015-544-3 0 0,44 93-25 0 0,-1044 490-37 0 0,-197 83-31 0 0,-28 10-25 0 0,-7 3-8 0 0,-44 27-24 0 0,49-32 68 0 0,-114 65 41 0 0,-43 23-23 0 0,-253 141 67 0 0,-538 309-133 0 0,41 48 83 0 0,710-435 20 0 0,179-133-48 0 0,18-16-16 0 0,4-3-9 0 0,16-10-46 0 0,81-51-44 0 0,62-39 62 0 0,53-28 31 0 0,51-25 20 0 0,828-422 100 0 0,24 45 1 0 0,-902 432-86 0 0,-54 28-34 0 0,-7 2-75 0 0,-160 74 39 0 0,-19 8 50 0 0,-78 38 42 0 0,-51 26-6 0 0,-45 27-10 0 0,-44 22-22 0 0,-832 448-80 0 0,35 46 17 0 0,850-494 90 0 0,178-119-29 0 0,-35 24 37 0 0,-76 66-1 0 0,115-88-42 0 0,14-9-39 0 0,15-7-3 0 0,0-1 0 0 0,-1-1 0 0 0,0 0 0 0 0,38-24 0 0 0,-4 2 46 0 0,144-74 12 0 0,51-25-13 0 0,45-22 3 0 0,393-178 100 0 0,13 18 109 0 0,-23 10-116 0 0,-12-15-312 0 0,-634 301 191 0 0,-28 14 22 0 0,-6 3 5 0 0,-48 28 32 0 0,-70 38 102 0 0,-56 28 24 0 0,-50 24-51 0 0,-279 145 65 0 0,-498 265-353 0 0,734-380 176 0 0,50-26 99 0 0,62-31-8 0 0,66-34-13 0 0,64-36-46 0 0,26-22-30 0 0,0 0 1 0 0,0 0 0 0 0,0 0 0 0 0,1-1-1 0 0,-1 1 1 0 0,0 0 0 0 0,0 0 0 0 0,0 0-1 0 0,0 0 1 0 0,0 0 0 0 0,0 0-1 0 0,0 0 1 0 0,0 0 0 0 0,1 0 0 0 0,-1 0-1 0 0,0 0 1 0 0,0 0 0 0 0,0 0 0 0 0,0 0-1 0 0,0 0 1 0 0,0 0 0 0 0,0 0 0 0 0,0 0-1 0 0,1 0 1 0 0,-1 0 0 0 0,0 0-1 0 0,0 1 1 0 0,0-1 0 0 0,0 0 0 0 0,0 0-1 0 0,0 0 1 0 0,0 0 0 0 0,0 0 0 0 0,0 0-1 0 0,0 0 1 0 0,0 0 0 0 0,1 0 0 0 0,-1 0-1 0 0,0 0 1 0 0,0 0 0 0 0,0 1-1 0 0,0-1 1 0 0,0 0 0 0 0,0 0 0 0 0,0 0-1 0 0,0 0 1 0 0,0 0 0 0 0,0 0 0 0 0,0 0-1 0 0,0 0 1 0 0,0 1 0 0 0,0-1 0 0 0,0 0-1 0 0,0 0 1 0 0,0 0 0 0 0,0 0-1 0 0,0 0 1 0 0,0 0 0 0 0,0 0 0 0 0,0 0-1 0 0,0 1 1 0 0,0-1 0 0 0,0 0 0 0 0,0 0-1 0 0,0 0 1 0 0,-1 0 0 0 0,1 0 0 0 0,0 0-1 0 0,0 0 1 0 0,24-7-53 0 0,80-40 29 0 0,58-30 56 0 0,46-24 32 0 0,43-21-26 0 0,785-353 211 0 0,-822 378-181 0 0,821-360-132 0 0,-790 354-179 0 0,-201 88 51 0 0,-147 72 123 0 0,64-37 82 0 0,-736 379 297 0 0,-574 342-302 0 0,1167-634-62 0 0,16 3 97 0 0,161-106-58 0 0,18-9-23 0 0,75-36-34 0 0,69-35 80 0 0,50-23 21 0 0,897-404 286 0 0,-740 339-321 0 0,450-190-332 0 0,-789 345 208 0 0,-19 8 4 0 0,-8 4-203 0 0,-264 128 337 0 0,159-81 43 0 0,-1448 762 541 0 0,1313-671-557 0 0,54-28-6 0 0,180-108-29 0 0,-157 105 0 0 0,161-105 15 0 0,19-10-11 0 0,85-32-15 0 0,70-38 75 0 0,-31 12-29 0 0,1531-669 128 0 0,-1015 479-467 0 0,-605 237 88 0 0,-43 14 149 0 0,-7 5 16 0 0,0-3 51 0 0,-2 2-6 0 0,1 0-1 0 0,-1 0 1 0 0,1-1 0 0 0,-1 1-1 0 0,1 0 1 0 0,-1-1-1 0 0,0 1 1 0 0,0 0 0 0 0,-4 1-1 0 0,-122 68 126 0 0,64-39-72 0 0,-1093 662 182 0 0,1152-690-228 0 0,-504 356 102 0 0,425-291-39 0 0,79-64-56 0 0,1-2 2 0 0,0 0 0 0 0,0 1 0 0 0,0 0 0 0 0,-4 7 0 0 0,8-11-10 0 0,0 0 0 0 0,0 0 0 0 0,0 0-1 0 0,0 0 1 0 0,-1 1 0 0 0,1-1 0 0 0,0 0-1 0 0,0 0 1 0 0,0 0 0 0 0,0 0 0 0 0,0 0-1 0 0,0 1 1 0 0,0-1 0 0 0,0 0 0 0 0,0 0 0 0 0,0 0-1 0 0,0 0 1 0 0,0 1 0 0 0,0-1 0 0 0,0 0-1 0 0,0 0 1 0 0,0 0 0 0 0,0 0 0 0 0,0 1-1 0 0,0-1 1 0 0,0 0 0 0 0,0 0 0 0 0,1 0 0 0 0,-1 0-1 0 0,0 1 1 0 0,0-1 0 0 0,0 0 0 0 0,0 0-1 0 0,0 0 1 0 0,0 0 0 0 0,0 0 0 0 0,1 0-1 0 0,-1 0 1 0 0,0 1 0 0 0,0-1 0 0 0,0 0-1 0 0,0 0 1 0 0,0 0 0 0 0,1 0 0 0 0,-1 0 0 0 0,0 0-1 0 0,0 0 1 0 0,0 0 0 0 0,1 0 0 0 0,21-3-71 0 0,12-6 43 0 0,36-17 0 0 0,88-49 60 0 0,294-153 25 0 0,136-67-310 0 0,8 20-245 0 0,-337 167 400 0 0,-203 86-257 0 0,-44 19-38 0 0,-36 16-121 0 0,-973 487 1426 0 0,516-192 70 0 0,467-298-941 0 0,1-1 14 0 0,0 0 1 0 0,0 1-1 0 0,1 1 1 0 0,0 0-1 0 0,-16 21 1 0 0,26-28-71 0 0,14-7-43 0 0,59-23 29 0 0,-1-3-1 0 0,77-45 1 0 0,-42 20 8 0 0,530-249 74 0 0,22 45-1026 0 0,-682 262 661 0 0,-206 70 590 0 0,27-8-132 0 0,134-44-22 0 0,-87 24 54 0 0,128-40-117 0 0,1 0 0 0 0,-1-2 0 0 0,-39 1 1 0 0,67-5-54 0 0,0 0 1 0 0,0 1 0 0 0,0-1-1 0 0,0 0 1 0 0,0 0 0 0 0,0 0-1 0 0,0 0 1 0 0,0-1 0 0 0,0 1-1 0 0,0 0 1 0 0,1 0 0 0 0,-1 0-1 0 0,0-1 1 0 0,0 1 0 0 0,0-1 0 0 0,0 1-1 0 0,0 0 1 0 0,0-1 0 0 0,0 0-1 0 0,1 1 1 0 0,-1-1 0 0 0,0 1-1 0 0,0-1 1 0 0,1 0 0 0 0,-1 0-1 0 0,1 1 1 0 0,-1-1 0 0 0,0 0-1 0 0,0-1 1 0 0,1-1-5 0 0,0 1 0 0 0,0-1 0 0 0,0 1-1 0 0,0-1 1 0 0,0 1 0 0 0,1-1 0 0 0,-1 1 0 0 0,1-1 0 0 0,1-3-1 0 0,1-2-19 0 0,0 1 0 0 0,0-1-1 0 0,0 1 1 0 0,1 0-1 0 0,0 0 1 0 0,9-10-1 0 0,35-37-59 0 0,-32 38 67 0 0,6-7 17 0 0,368-412-549 0 0,-199 179-20 0 0,-137 174 240 0 0,52-107 0 0 0,-98 175 300 0 0,-1 0-1 0 0,-1-1 1 0 0,-1 0 0 0 0,0 0 0 0 0,-1 0 0 0 0,-1-1 0 0 0,0 1 0 0 0,1-23 0 0 0,-4 36 21 0 0,1 0-1 0 0,-1-1 1 0 0,0 1-1 0 0,0-1 1 0 0,0 1-1 0 0,-1 0 1 0 0,1-1-1 0 0,0 1 1 0 0,-1 0-1 0 0,0-1 1 0 0,0 1-1 0 0,1 0 0 0 0,-1 0 1 0 0,0-1-1 0 0,-1 1 1 0 0,1 0-1 0 0,0 0 1 0 0,-1 0-1 0 0,1 0 1 0 0,-3-2-1 0 0,0 2 6 0 0,0 0 0 0 0,-1 0-1 0 0,1 0 1 0 0,0 1-1 0 0,-1-1 1 0 0,1 1 0 0 0,-1 0-1 0 0,0 0 1 0 0,1 1 0 0 0,-6-1-1 0 0,-47-3 93 0 0,0 3 0 0 0,-74 7 0 0 0,45 5 123 0 0,-100 25 1 0 0,-86 35 218 0 0,-304 112 159 0 0,337-103-475 0 0,210-71-85 0 0,-57 12 1 0 0,80-20-13 0 0,7-5-23 0 0,-1 2-8 0 0,1 0-1 0 0,0 0 0 0 0,-1 1 1 0 0,1-1-1 0 0,0 0 0 0 0,0 0 0 0 0,0 1 1 0 0,0-1-1 0 0,1 1 0 0 0,-1-1 1 0 0,0 1-1 0 0,1 0 0 0 0,2-3 0 0 0,26-17-14 0 0,1 1 0 0 0,39-19 0 0 0,-40 22 11 0 0,144-75-219 0 0,294-110 0 0 0,-510 212-18 0 0,-322 133 347 0 0,230-88-63 0 0,-459 171 722 0 0,556-214-682 0 0,-54 11-1 0 0,86-23-39 0 0,10-6 4 0 0,16-13-22 0 0,2 1-1 0 0,0 1 0 0 0,51-27 1 0 0,1161-591-223 0 0,-1207 623 145 0 0,-14 6-28 0 0,-1 0 1 0 0,17-11-1 0 0,-28 15 30 0 0,-9 3 19 0 0,-28 7 35 0 0,-52 21 1 0 0,67-22 1 0 0,-695 262 208 0 0,338-124 19 0 0,326-125-190 0 0,41-19-38 0 0,9-5-16 0 0,16-10-15 0 0,118-69 44 0 0,-86 56-30 0 0,698-389-225 0 0,-724 406 215 0 0,-11 6-34 0 0,-1-1 1 0 0,1-1-1 0 0,11-8 1 0 0,-20 12-69 0 0,-7 2 19 0 0,-24 2 104 0 0,1 2 0 0 0,-1 1 0 0 0,1 1-1 0 0,-48 17 1 0 0,36-10 9 0 0,-434 137 215 0 0,-22 8-26 0 0,471-150-207 0 0,0-2 0 0 0,-36 5 0 0 0,57-11 19 0 0,11-6-14 0 0,19-13-12 0 0,0 0 1 0 0,2 1-1 0 0,35-17 0 0 0,-55 31 23 0 0,971-498-106 0 0,-932 480-113 0 0,-42 20 161 0 0,4-3-61 0 0,-22 6-99 0 0,-158 46 269 0 0,-11 18 70 0 0,92-32-61 0 0,-831 319 543 0 0,860-329-731 0 0,670-319 147 0 0,-168 79-166 0 0,-423 208 113 0 0,-13 8 16 0 0,0-1-1 0 0,-1 0 1 0 0,1 0-1 0 0,-1 0 1 0 0,1 0-1 0 0,-1-1 1 0 0,0 1-1 0 0,6-6 1 0 0,-9 6-20 0 0,-4 2 28 0 0,-22 1 72 0 0,0 1 1 0 0,-43 9-1 0 0,-56 21-28 0 0,97-24-18 0 0,-169 47 175 0 0,-114 31 16 0 0,230-69-221 0 0,81-17 14 0 0,0 0 0 0 0,0 0 0 0 0,0 0 0 0 0,0-1 0 0 0,0 1 0 0 0,0 0 0 0 0,1 0-1 0 0,-1 0 1 0 0,0 0 0 0 0,0 0 0 0 0,0 0 0 0 0,0 0 0 0 0,0 0 0 0 0,0 0 0 0 0,0-1 0 0 0,0 1-1 0 0,0 0 1 0 0,0 0 0 0 0,-1 0 0 0 0,1 0 0 0 0,0 0 0 0 0,0 0 0 0 0,0 0 0 0 0,0 0 0 0 0,0 0-1 0 0,0-1 1 0 0,0 1 0 0 0,0 0 0 0 0,0 0 0 0 0,0 0 0 0 0,0 0 0 0 0,0 0 0 0 0,0 0 0 0 0,0 0-1 0 0,0 0 1 0 0,0 0 0 0 0,-1 0 0 0 0,1 0 0 0 0,0 0 0 0 0,0 0 0 0 0,0 0 0 0 0,0 0-1 0 0,0 0 1 0 0,0 0 0 0 0,0 0 0 0 0,0 0 0 0 0,2-4-16 0 0,1 1-1 0 0,0-1 1 0 0,0 1-1 0 0,0 0 1 0 0,6-4-1 0 0,189-117-72 0 0,-123 80 80 0 0,531-313-197 0 0,-579 339 196 0 0,-23 13-15 0 0,-7 3-7 0 0,-17 5-8 0 0,-52 15 60 0 0,-80 33 0 0 0,67-21-9 0 0,-936 328 317 0 0,827-295-320 0 0,158-55 43 0 0,31-8-34 0 0,10-5-29 0 0,12-9-28 0 0,1 1-1 0 0,0 1 0 0 0,1 0 0 0 0,26-12 1 0 0,-37 20 35 0 0,663-309 108 0 0,-353 172-32 0 0,-302 133-84 0 0,11-3-122 0 0,32-21 0 0 0,-55 28 25 0 0,-7 2 61 0 0,-17 4 10 0 0,-302 84 174 0 0,191-48-115 0 0,-685 201 207 0 0,795-233-219 0 0,13-3 6 0 0,0-1 1 0 0,0 0-1 0 0,0 0 0 0 0,0-1 0 0 0,-13 1 0 0 0,18-3-24 0 0,8-4-17 0 0,23-16 15 0 0,0 1-1 0 0,1 1 1 0 0,1 2 0 0 0,43-19-1 0 0,-26 14 27 0 0,142-72 61 0 0,368-187 5 0 0,-271 120-152 0 0,-275 155 51 0 0,11-7-11 0 0,-21 12 30 0 0,0 1-1 0 0,-1-1 0 0 0,1 0 0 0 0,0 0 0 0 0,-1 0 0 0 0,1 1 0 0 0,0-1 0 0 0,-1 0 1 0 0,1 0-1 0 0,-1 0 0 0 0,1 0 0 0 0,-1 0 0 0 0,0 0 0 0 0,1 0 0 0 0,-1 0 1 0 0,0 0-1 0 0,0 0 0 0 0,0-2 0 0 0,-1 1 4 0 0,-5 2 25 0 0,-16 1 14 0 0,1 0 1 0 0,0 2-1 0 0,-22 5 1 0 0,-67 22-12 0 0,84-22-18 0 0,-466 156 38 0 0,182-57-42 0 0,212-74-7 0 0,-98 31 30 0 0,3-19-28 0 0,155-42 14 0 0,38-2-16 0 0,0-1 0 0 0,-1 0 0 0 0,1 0-1 0 0,0 0 1 0 0,-1 0 0 0 0,1 0-1 0 0,0 0 1 0 0,0 0 0 0 0,-1 0 0 0 0,1 0-1 0 0,0 0 1 0 0,0 0 0 0 0,-1 0 0 0 0,1-1-1 0 0,0 1 1 0 0,0 0 0 0 0,-1 0-1 0 0,1 0 1 0 0,0 0 0 0 0,0 0 0 0 0,-1 0-1 0 0,1-1 1 0 0,0 1 0 0 0,0 0 0 0 0,0 0-1 0 0,-1 0 1 0 0,1-1 0 0 0,0 1-1 0 0,0 0 1 0 0,0 0 0 0 0,0 0 0 0 0,-1-1-1 0 0,1 1 1 0 0,0 0 0 0 0,0 0 0 0 0,0-1-1 0 0,0 1 1 0 0,0 0 0 0 0,0 0-1 0 0,0-1 1 0 0,0 1 0 0 0,0 0 0 0 0,0-1-1 0 0,0 1 1 0 0,0 0 0 0 0,0 0-1 0 0,0-1 1 0 0,0 1 0 0 0,0 0 0 0 0,0 0-1 0 0,0-1 1 0 0,0 1 0 0 0,0 0 0 0 0,0 0-1 0 0,1-1 1 0 0,-1 1 0 0 0,13-17-73 0 0,12-3 35 0 0,2 2-1 0 0,48-27 0 0 0,-37 24 27 0 0,738-401-127 0 0,-712 388 116 0 0,-29 17-4 0 0,-5 2-148 0 0,49-34 0 0 0,-76 47 136 0 0,0 0 0 0 0,0-1 0 0 0,-1 1 0 0 0,1-1 0 0 0,4-5 0 0 0,-6 3-6 0 0,-8 3 34 0 0,-19 1 24 0 0,1 0 0 0 0,-1 2 0 0 0,1 1 0 0 0,0 1 0 0 0,-26 7 0 0 0,-136 40-1 0 0,157-41-20 0 0,-736 256 225 0 0,271-86-68 0 0,435-161-115 0 0,42-15-3 0 0,20-8-50 0 0,12-4-35 0 0,218-110-99 0 0,-121 65 148 0 0,646-307-15 0 0,-489 235 48 0 0,-227 107-60 0 0,-10 6-97 0 0,51-32 0 0 0,-81 45 121 0 0,11-11-38 0 0,-12 11 45 0 0,0 0 0 0 0,0 0 1 0 0,0 0-1 0 0,0 0 0 0 0,0-1 1 0 0,0 1-1 0 0,0 0 0 0 0,0 0 1 0 0,0 0-1 0 0,0 0 0 0 0,1 0 1 0 0,-1 0-1 0 0,0 0 0 0 0,0-1 1 0 0,0 1-1 0 0,0 0 0 0 0,0 0 1 0 0,0 0-1 0 0,0 0 0 0 0,-1 0 1 0 0,1 0-1 0 0,0 0 0 0 0,0-1 1 0 0,0 1-1 0 0,0 0 0 0 0,0 0 1 0 0,0 0-1 0 0,0 0 0 0 0,0 0 1 0 0,0 0-1 0 0,0 0 0 0 0,0 0 0 0 0,0 0 1 0 0,0-1-1 0 0,0 1 0 0 0,0 0 1 0 0,-1 0-1 0 0,1 0 0 0 0,0 0 1 0 0,0 0-1 0 0,0 0 0 0 0,0 0 1 0 0,0 0-1 0 0,-13-1-67 0 0,-22 5 56 0 0,-65 14 0 0 0,-43 22-8 0 0,96-26 5 0 0,-1019 333 568 0 0,930-300-549 0 0,80-27 6 0 0,-201 58 122 0 0,233-75-135 0 0,24-3 3 0 0,-1 0-1 0 0,1 0 1 0 0,0 0-1 0 0,0 0 1 0 0,0 0-1 0 0,-1 0 1 0 0,1 0-1 0 0,0 0 1 0 0,0 0-1 0 0,-1 0 1 0 0,1 0-1 0 0,0 0 1 0 0,0-1-1 0 0,0 1 1 0 0,-1 0-1 0 0,1 0 1 0 0,0 0-1 0 0,0 0 1 0 0,0 0-1 0 0,0 0 1 0 0,-1-1-1 0 0,1 1 1 0 0,0 0-1 0 0,0 0 1 0 0,0 0-1 0 0,0-1 1 0 0,0 1-1 0 0,0 0 1 0 0,-1 0-1 0 0,1-1 1 0 0,7-9-36 0 0,15-9 0 0 0,2 2-1 0 0,0 0 0 0 0,49-24 1 0 0,431-223-59 0 0,103-57 96 0 0,-559 291-65 0 0,-38 21 29 0 0,-10 9 35 0 0,0 0-1 0 0,0 0 1 0 0,0 0-1 0 0,0 0 1 0 0,0-1-1 0 0,0 1 1 0 0,0 0-1 0 0,0 0 1 0 0,0 0 0 0 0,0 0-1 0 0,0 0 1 0 0,0-1-1 0 0,0 1 1 0 0,0 0-1 0 0,0 0 1 0 0,0 0 0 0 0,0 0-1 0 0,0 0 1 0 0,0 0-1 0 0,0-1 1 0 0,0 1-1 0 0,0 0 1 0 0,0 0-1 0 0,0 0 1 0 0,0 0 0 0 0,0 0-1 0 0,0 0 1 0 0,0-1-1 0 0,-1 1 1 0 0,1 0-1 0 0,0 0 1 0 0,0 0-1 0 0,0 0 1 0 0,0 0 0 0 0,0 0-1 0 0,0 0 1 0 0,0 0-1 0 0,-1 0 1 0 0,1-1-1 0 0,0 1 1 0 0,0 0 0 0 0,0 0-1 0 0,0 0 1 0 0,0 0-1 0 0,0 0 1 0 0,-1 0-1 0 0,1 0 1 0 0,0 0-1 0 0,0 0 1 0 0,0 0 0 0 0,0 0-1 0 0,-1 0 1 0 0,-5-1 0 0 0,0 1-1 0 0,-1-1 1 0 0,1 1 0 0 0,-1 0 0 0 0,1 1 0 0 0,-1-1 0 0 0,-9 4 0 0 0,-58 14 25 0 0,59-14-23 0 0,-530 163 60 0 0,5 19 132 0 0,119-40-60 0 0,399-137-119 0 0,18-7-11 0 0,0-1-1 0 0,1 1 1 0 0,-1-1 0 0 0,-1 0-1 0 0,1 0 1 0 0,0 0 0 0 0,0-1-1 0 0,-7 1 1 0 0,18-7-111 0 0,205-114-135 0 0,-161 93 239 0 0,311-158-6 0 0,369-201-14 0 0,-704 371 22 0 0,-9 6-12 0 0,-1-2 0 0 0,29-21 0 0 0,-42 26-14 0 0,-7 4 3 0 0,-30 3-8 0 0,-47 12 26 0 0,-153 47 1 0 0,181-45 3 0 0,-1316 441 343 0 0,1328-440-321 0 0,14-5 14 0 0,0-2 1 0 0,-43 10-1 0 0,67-19-59 0 0,5-3-33 0 0,17-12-41 0 0,1 1 0 0 0,23-12 0 0 0,-30 18 81 0 0,566-306-71 0 0,11 17 99 0 0,-471 237-3 0 0,-96 48 0 0 0,-11 6-7 0 0,0-1-1 0 0,0 0 1 0 0,17-13 0 0 0,-27 16-4 0 0,-10 2-3 0 0,-14 3 5 0 0,-1 0 0 0 0,1 1 0 0 0,-1 1 0 0 0,-38 11 0 0 0,53-12 4 0 0,-442 134-66 0 0,5 35 75 0 0,-280 139 269 0 0,642-276-235 0 0,114-54-264 0 0,610-340 149 0 0,18 29 55 0 0,-638 321 14 0 0,67-34-73 0 0,-89 43 67 0 0,7-5-71 0 0,-22 6 46 0 0,-31 7 35 0 0,0 1 0 0 0,-63 21 1 0 0,-98 43 21 0 0,191-67-23 0 0,-251 99 125 0 0,-338 183 0 0 0,572-269-135 0 0,973-499-395 0 0,-915 468 369 0 0,77-40-180 0 0,-82 37 88 0 0,-20 16 125 0 0,0 0 1 0 0,0 0-1 0 0,0 0 0 0 0,0 0 0 0 0,1 0 1 0 0,-1 0-1 0 0,0 0 0 0 0,0 0 0 0 0,0 0 0 0 0,0-1 1 0 0,0 1-1 0 0,0 0 0 0 0,0 0 0 0 0,0 0 0 0 0,1 0 1 0 0,-1 0-1 0 0,0 0 0 0 0,0 0 0 0 0,0-1 0 0 0,0 1 1 0 0,0 0-1 0 0,0 0 0 0 0,0 0 0 0 0,0 0 0 0 0,0 0 1 0 0,0-1-1 0 0,0 1 0 0 0,0 0 0 0 0,0 0 0 0 0,0 0 1 0 0,0 0-1 0 0,0 0 0 0 0,0 0 0 0 0,0-1 1 0 0,0 1-1 0 0,0 0 0 0 0,0 0 0 0 0,0 0 0 0 0,0 0 1 0 0,0 0-1 0 0,-1 0 0 0 0,1-1 0 0 0,0 1 0 0 0,0 0 1 0 0,0 0-1 0 0,0 0 0 0 0,0 0 0 0 0,0 0 0 0 0,0 0 1 0 0,0 0-1 0 0,-1 0 0 0 0,1 0 0 0 0,0-1 0 0 0,0 1 1 0 0,0 0-1 0 0,0 0 0 0 0,0 0 0 0 0,0 0 0 0 0,-1 0 1 0 0,1 0-1 0 0,0 0 0 0 0,0 0 0 0 0,0 0 1 0 0,-28 0-32 0 0,-11 4 13 0 0,0 2 0 0 0,-75 21 1 0 0,-80 37 42 0 0,-394 185 145 0 0,215-83-130 0 0,297-138 22 0 0,69-28-51 0 0,11-8-89 0 0,2 1 45 0 0,0 0 1 0 0,0 0-1 0 0,1 0 1 0 0,-1 1-1 0 0,12-8 1 0 0,43-27 55 0 0,-21 16-17 0 0,412-271-173 0 0,-440 289 121 0 0,11-9-32 0 0,-22 16 73 0 0,0-1 0 0 0,0 0 0 0 0,0 1 0 0 0,0-1 0 0 0,0 0-1 0 0,-1 0 1 0 0,1 0 0 0 0,0 1 0 0 0,-1-1 0 0 0,1 0 0 0 0,0 0 0 0 0,-1 0 0 0 0,1 0 0 0 0,-1 0 0 0 0,0-1 0 0 0,1-1 0 0 0,-7 2-21 0 0,-12 3 29 0 0,0 1 1 0 0,0 0-1 0 0,1 1 1 0 0,0 1-1 0 0,-1 1 0 0 0,-19 9 1 0 0,7-3-15 0 0,-403 162 67 0 0,324-129-59 0 0,-140 65 65 0 0,689-333-226 0 0,-175 87 282 0 0,-210 109-126 0 0,-21 11-121 0 0,0-1 1 0 0,42-31 0 0 0,-75 47 39 0 0,-6 2 4 0 0,-33 9 33 0 0,1 2 1 0 0,-41 19 0 0 0,22-8 62 0 0,-507 199 500 0 0,380-139-449 0 0,180-82-181 0 0,8-3-69 0 0,55-24 192 0 0,104-63 1 0 0,-156 84-3 0 0,-3 3-17 0 0,-5 2 13 0 0,1-1-1 0 0,0 1 0 0 0,-1 0 0 0 0,1 0 0 0 0,0-1 0 0 0,-1 1 0 0 0,1-1 1 0 0,-1 1-1 0 0,1-1 0 0 0,0 1 0 0 0,-1 0 0 0 0,1-1 0 0 0,-1 0 0 0 0,1 1 0 0 0,-1-1 1 0 0,0 1-1 0 0,1-1 0 0 0,-1 0 0 0 0,0 1 0 0 0,1-1 0 0 0,-1 0 0 0 0,1-1 0 0 0,-6 1 4 0 0,-10 2-11 0 0,0 0-1 0 0,1 2 0 0 0,0-1 0 0 0,-21 7 0 0 0,-61 25-60 0 0,66-22 83 0 0,-92 36-1 0 0,-129 73-1 0 0,238-114-8 0 0,11-5-73 0 0,12-8-89 0 0,460-277 353 0 0,-463 278-184 0 0,12-6 5 0 0,22-17 1 0 0,-41 28-15 0 0,0 0 0 0 0,0 0 1 0 0,0 0-1 0 0,0 0 0 0 0,-1 0 1 0 0,1 0-1 0 0,0 0 0 0 0,0 0 1 0 0,0-1-1 0 0,0 1 0 0 0,-1 0 0 0 0,1 0 1 0 0,0 0-1 0 0,0 0 0 0 0,0 0 1 0 0,0 0-1 0 0,0 0 0 0 0,0 0 1 0 0,-1-1-1 0 0,1 1 0 0 0,0 0 0 0 0,0 0 1 0 0,0 0-1 0 0,0 0 0 0 0,0 0 1 0 0,0-1-1 0 0,0 1 0 0 0,0 0 1 0 0,0 0-1 0 0,0 0 0 0 0,0 0 1 0 0,0-1-1 0 0,0 1 0 0 0,-1 0 0 0 0,1 0 1 0 0,0 0-1 0 0,1 0 0 0 0,-1-1 1 0 0,0 1-1 0 0,0 0 0 0 0,0 0 1 0 0,0 0-1 0 0,0 0 0 0 0,0 0 0 0 0,0-1 1 0 0,0 1-1 0 0,0 0 0 0 0,0 0 1 0 0,0 0-1 0 0,0 0 0 0 0,0 0 1 0 0,0-1-1 0 0,1 1 0 0 0,-1 0 1 0 0,0 0-1 0 0,0 0 0 0 0,-21 3 17 0 0,-21 9-28 0 0,0 2 0 0 0,-50 26 0 0 0,65-28 29 0 0,13-6-29 0 0,-184 87 283 0 0,163-74-211 0 0,1 2-1 0 0,0 1 0 0 0,-43 37 0 0 0,72-54-69 0 0,0-1 0 0 0,0 1-1 0 0,0 0 1 0 0,1 0 0 0 0,0 1 0 0 0,-5 6-1 0 0,9-12 8 0 0,0 0-1 0 0,0 1 1 0 0,0-1-1 0 0,0 0 0 0 0,0 0 1 0 0,0 0-1 0 0,0 0 1 0 0,0 0-1 0 0,0 0 1 0 0,-1 0-1 0 0,1 0 0 0 0,0 1 1 0 0,0-1-1 0 0,0 0 1 0 0,0 0-1 0 0,0 0 0 0 0,0 0 1 0 0,0 0-1 0 0,0 0 1 0 0,0 0-1 0 0,0 1 1 0 0,0-1-1 0 0,0 0 0 0 0,0 0 1 0 0,0 0-1 0 0,0 0 1 0 0,0 0-1 0 0,0 0 1 0 0,0 0-1 0 0,0 1 0 0 0,0-1 1 0 0,0 0-1 0 0,1 0 1 0 0,-1 0-1 0 0,0 0 1 0 0,0 0-1 0 0,0 0 0 0 0,0 0 1 0 0,0 0-1 0 0,0 0 1 0 0,0 1-1 0 0,0-1 1 0 0,0 0-1 0 0,0 0 0 0 0,0 0 1 0 0,1 0-1 0 0,-1 0 1 0 0,0 0-1 0 0,0 0 0 0 0,0 0 1 0 0,0 0-1 0 0,0 0 1 0 0,0 0-1 0 0,0 0 1 0 0,1 0-1 0 0,-1 0 0 0 0,0 0 1 0 0,0 0-1 0 0,0 0 1 0 0,0 0-1 0 0,11-2-46 0 0,-11 2 54 0 0,21-7 33 0 0,0-1-1 0 0,0-2 0 0 0,22-12 1 0 0,-4 2 4 0 0,-13 5-11 0 0,-14 9-22 0 0,0-1 0 0 0,0 2 0 0 0,17-6-1 0 0,-28 11-17 0 0,0 0-1 0 0,-1 0 1 0 0,1 0-1 0 0,-1 0 1 0 0,1 0-1 0 0,-1 0 1 0 0,1 0-1 0 0,-1 1 1 0 0,1-1-1 0 0,-1 0 1 0 0,1 0-1 0 0,-1 1 1 0 0,1-1-1 0 0,-1 0 1 0 0,1 1-1 0 0,-1-1 1 0 0,0 1-1 0 0,1-1 1 0 0,-1 0 0 0 0,0 1-1 0 0,1-1 1 0 0,-1 2-1 0 0,11 14 92 0 0,-5-6-83 0 0,17 16 19 0 0,1-1 0 0 0,1-1 1 0 0,40 31-1 0 0,-57-49-17 0 0,-8-5-19 0 0,1-1 0 0 0,-1 0-1 0 0,0 1 1 0 0,1-1 0 0 0,-1 1 0 0 0,0-1 0 0 0,1 0 0 0 0,-1 1 0 0 0,0-1 0 0 0,0 1-1 0 0,1-1 1 0 0,-1 0 0 0 0,0 1 0 0 0,0-1 0 0 0,0 1 0 0 0,0-1 0 0 0,0 1 0 0 0,1-1-1 0 0,-1 1 1 0 0,0-1 0 0 0,0 1 0 0 0,0-1 0 0 0,0 1 0 0 0,-1-1 0 0 0,1 1-1 0 0,0-1 1 0 0,0 1 0 0 0,0-1 0 0 0,0 1 0 0 0,0-1 0 0 0,-1 0 0 0 0,1 1 0 0 0,0-1-1 0 0,0 1 1 0 0,-1-1 0 0 0,1 1 0 0 0,-1-1 0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6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6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6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6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6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6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6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6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6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6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6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6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6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6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6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6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6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6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6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6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6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6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6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6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6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6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6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6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6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6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6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6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6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6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6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6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6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6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6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6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6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6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6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6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2.055"/>
    </inkml:context>
    <inkml:brush xml:id="br0">
      <inkml:brushProperty name="width" value="0.05" units="cm"/>
      <inkml:brushProperty name="height" value="0.05" units="cm"/>
      <inkml:brushProperty name="color" value="#66CC00"/>
    </inkml:brush>
  </inkml:definitions>
  <inkml:trace contextRef="#ctx0" brushRef="#br0">0 19 752 0 0,'0'0'10728'0'0,"5"-2"-10496"0"0,4-1 66 0 0,0 0 0 0 0,0 0 0 0 0,0 1 0 0 0,0 0 0 0 0,1 1 0 0 0,12-1 0 0 0,-3 2-211 0 0,0 0-1 0 0,0 2 0 0 0,0 0 0 0 0,0 1 1 0 0,0 1-1 0 0,-1 1 0 0 0,0 0 0 0 0,34 16 1 0 0,-11 1 9 0 0,76 55 0 0 0,-86-55-75 0 0,18 18 98 0 0,-36-27-434 0 0,2-2 1 0 0,18 13 0 0 0,-26-21-496 0 0,0 1 1 0 0,0-1-1 0 0,0 0 1 0 0,14 4 0 0 0,-3-3-2673 0 0</inkml:trace>
</inkml:ink>
</file>

<file path=ppt/ink/ink6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135"/>
    </inkml:context>
    <inkml:brush xml:id="br0">
      <inkml:brushProperty name="width" value="0.05" units="cm"/>
      <inkml:brushProperty name="height" value="0.05" units="cm"/>
      <inkml:brushProperty name="color" value="#66CC00"/>
    </inkml:brush>
  </inkml:definitions>
  <inkml:trace contextRef="#ctx0" brushRef="#br0">0 7 384 0 0,'0'0'8938'0'0,"0"-1"-8818"0"0,0 1 0 0 0,0 0 1 0 0,0 0-1 0 0,0 0 1 0 0,0-1-1 0 0,0 1 0 0 0,0 0 1 0 0,0 0-1 0 0,0-1 1 0 0,0 1-1 0 0,0 0 0 0 0,0 0 1 0 0,0 0-1 0 0,1-1 1 0 0,-1 1-1 0 0,0 0 1 0 0,0 0-1 0 0,0 0 0 0 0,0-1 1 0 0,0 1-1 0 0,0 0 1 0 0,0 0-1 0 0,1 0 0 0 0,-1 0 1 0 0,0-1-1 0 0,0 1 1 0 0,0 0-1 0 0,1 0 0 0 0,-1 0 1 0 0,0 0-1 0 0,0 0 1 0 0,0 0-1 0 0,1 0 0 0 0,-1-1 1 0 0,0 1-1 0 0,0 0 1 0 0,1 0-1 0 0,4 4-105 0 0,1-1 1 0 0,-1 1-1 0 0,1 0 1 0 0,-1 0-1 0 0,6 8 1 0 0,4 1 62 0 0,13 11 24 0 0,48 41 100 0 0,-75-64-312 0 0,1 1-1 0 0,-1-1 1 0 0,0 1 0 0 0,1-1-1 0 0,-1 1 1 0 0,0 0 0 0 0,0-1-1 0 0,0 1 1 0 0,-1 0 0 0 0,1 0-1 0 0,0 0 1 0 0,-1 0 0 0 0,1 0-1 0 0,-1 0 1 0 0,1 0 0 0 0,-1 0-1 0 0,0 0 1 0 0,0 0 0 0 0,0 0-1 0 0,0 0 1 0 0,-1 3 0 0 0,1 1-1996 0 0,0-2-962 0 0</inkml:trace>
</inkml:ink>
</file>

<file path=ppt/ink/ink6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826"/>
    </inkml:context>
    <inkml:brush xml:id="br0">
      <inkml:brushProperty name="width" value="0.05" units="cm"/>
      <inkml:brushProperty name="height" value="0.05" units="cm"/>
      <inkml:brushProperty name="color" value="#66CC00"/>
    </inkml:brush>
  </inkml:definitions>
  <inkml:trace contextRef="#ctx0" brushRef="#br0">0 21 2753 0 0,'0'0'7857'0'0,"8"0"-7729"0"0,129-6 795 0 0,-13-7-500 0 0,-72 12-3447 0 0</inkml:trace>
</inkml:ink>
</file>

<file path=ppt/ink/ink6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4.808"/>
    </inkml:context>
    <inkml:brush xml:id="br0">
      <inkml:brushProperty name="width" value="0.05" units="cm"/>
      <inkml:brushProperty name="height" value="0.05" units="cm"/>
      <inkml:brushProperty name="color" value="#66CC00"/>
    </inkml:brush>
  </inkml:definitions>
  <inkml:trace contextRef="#ctx0" brushRef="#br0">48 46 3618 0 0,'0'0'3062'0'0,"-10"5"-1880"0"0,10-4-1146 0 0,1 0-1 0 0,0-1 1 0 0,-1 1 0 0 0,1-1-1 0 0,0 1 1 0 0,-1 0-1 0 0,1-1 1 0 0,0 0 0 0 0,0 1-1 0 0,-1-1 1 0 0,1 1-1 0 0,0-1 1 0 0,0 0-1 0 0,0 0 1 0 0,0 1 0 0 0,-1-1-1 0 0,1 0 1 0 0,0 0-1 0 0,0 0 1 0 0,0 0 0 0 0,0 0-1 0 0,0 0 1 0 0,0 0-1 0 0,-1 0 1 0 0,3-1-1 0 0,26-2 657 0 0,-28 2-610 0 0,1 1 0 0 0,0-1 0 0 0,0 0 1 0 0,0 1-1 0 0,-1-1 0 0 0,1 0 0 0 0,0 0 0 0 0,-1 0 0 0 0,1 0 1 0 0,-1 0-1 0 0,1-1 0 0 0,-1 1 0 0 0,0 0 0 0 0,1-1 0 0 0,-1 1 0 0 0,0-1 1 0 0,0 1-1 0 0,0-1 0 0 0,0 0 0 0 0,0 1 0 0 0,0-1 0 0 0,-1 0 1 0 0,1 0-1 0 0,0 1 0 0 0,-1-1 0 0 0,0 0 0 0 0,1 0 0 0 0,-1 0 1 0 0,0 0-1 0 0,0 0 0 0 0,0 0 0 0 0,0 0 0 0 0,-1-2 0 0 0,1 4-73 0 0,0 0-1 0 0,-1-1 0 0 0,1 1 0 0 0,0 0 1 0 0,-1-1-1 0 0,1 1 0 0 0,-1 0 0 0 0,1-1 1 0 0,0 1-1 0 0,-1 0 0 0 0,1 0 0 0 0,-1 0 0 0 0,1-1 1 0 0,-1 1-1 0 0,1 0 0 0 0,-1 0 0 0 0,1 0 1 0 0,-1 0-1 0 0,1 0 0 0 0,-1 0 0 0 0,1 0 1 0 0,-1 0-1 0 0,0 0 0 0 0,-17 0 11 0 0,14 1 42 0 0,-2-2 12 0 0,-1 2 0 0 0,1-1 0 0 0,-1 1 0 0 0,1 0 0 0 0,0 0 0 0 0,-1 1 0 0 0,-6 2 0 0 0,10-3-143 0 0,1 0 1 0 0,0 0 0 0 0,0 1 0 0 0,1-1 0 0 0,-1 0 0 0 0,0 1 0 0 0,0-1 0 0 0,1 1 0 0 0,-1-1-1 0 0,-1 3 1 0 0,2-2-253 0 0,0-1-1 0 0,0 1 0 0 0,0 0 0 0 0,0 0 0 0 0,0 0 1 0 0,1 0-1 0 0,-1 0 0 0 0,1 0 0 0 0,-1 0 0 0 0,1 0 1 0 0,0 0-1 0 0,0 3 0 0 0</inkml:trace>
</inkml:ink>
</file>

<file path=ppt/ink/ink6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5.603"/>
    </inkml:context>
    <inkml:brush xml:id="br0">
      <inkml:brushProperty name="width" value="0.05" units="cm"/>
      <inkml:brushProperty name="height" value="0.05" units="cm"/>
      <inkml:brushProperty name="color" value="#66CC00"/>
    </inkml:brush>
  </inkml:definitions>
  <inkml:trace contextRef="#ctx0" brushRef="#br0">0 40 2497 0 0,'0'0'3735'0'0,"1"26"-1440"0"0,1-25-2304 0 0,1 0 0 0 0,-1-1 1 0 0,1 1-1 0 0,0 0 0 0 0,-1-1 1 0 0,1 0-1 0 0,-1 1 0 0 0,1-1 1 0 0,0 0-1 0 0,-1 0 0 0 0,1-1 1 0 0,4 0-1 0 0,2 1 108 0 0,-5 0-49 0 0,0 0 28 0 0,-1 0 1 0 0,1 0-1 0 0,-1 0 0 0 0,1 0 0 0 0,-1-1 0 0 0,1 0 1 0 0,4-1-1 0 0,-7 2-33 0 0,0-1-1 0 0,0 0 1 0 0,0 1 0 0 0,0-1 0 0 0,-1 0 0 0 0,1 0 0 0 0,0 0 0 0 0,0 0-1 0 0,-1 0 1 0 0,1 0 0 0 0,0 0 0 0 0,-1 0 0 0 0,1 0 0 0 0,-1 0-1 0 0,1 0 1 0 0,-1 0 0 0 0,1 0 0 0 0,-1 0 0 0 0,0 0 0 0 0,0 0-1 0 0,1-1 1 0 0,-1 1 0 0 0,0 0 0 0 0,0 0 0 0 0,0 0 0 0 0,-1-2-1 0 0,1 2 3 0 0,0-1-1 0 0,0 1 0 0 0,0-1 0 0 0,0 0 1 0 0,-1 1-1 0 0,1-1 0 0 0,0 1 0 0 0,-1 0 1 0 0,0-1-1 0 0,1 1 0 0 0,-1-1 0 0 0,0 1 1 0 0,1 0-1 0 0,-1-1 0 0 0,0 1 0 0 0,0 0 1 0 0,0 0-1 0 0,0 0 0 0 0,0 0 0 0 0,-1 0 1 0 0,1 0-1 0 0,0 0 0 0 0,0 0 0 0 0,-1 0 1 0 0,1 0-1 0 0,-1 1 0 0 0,1-1 0 0 0,0 1 0 0 0,-1-1 1 0 0,1 1-1 0 0,-1-1 0 0 0,1 1 0 0 0,-1 0 1 0 0,1 0-1 0 0,-1 0 0 0 0,0 0 0 0 0,1 0 1 0 0,-2 0-1 0 0,2 0-46 0 0,0 0-1 0 0,1 0 1 0 0,-1 0 0 0 0,0 0-1 0 0,1 0 1 0 0,-1 0 0 0 0,0 0 0 0 0,1 0-1 0 0,-1 0 1 0 0,0 0 0 0 0,1 1-1 0 0,-1-1 1 0 0,0 0 0 0 0,1 0-1 0 0,-1 1 1 0 0,0-1 0 0 0,1 0 0 0 0,-1 1-1 0 0,1-1 1 0 0,-1 1 0 0 0,1-1-1 0 0,-1 1 1 0 0,1-1 0 0 0,-1 2-1 0 0,-1 15-1700 0 0,3-6-1037 0 0,-1-6-280 0 0</inkml:trace>
</inkml:ink>
</file>

<file path=ppt/ink/ink6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6.445"/>
    </inkml:context>
    <inkml:brush xml:id="br0">
      <inkml:brushProperty name="width" value="0.05" units="cm"/>
      <inkml:brushProperty name="height" value="0.05" units="cm"/>
      <inkml:brushProperty name="color" value="#66CC00"/>
    </inkml:brush>
  </inkml:definitions>
  <inkml:trace contextRef="#ctx0" brushRef="#br0">38 32 3073 0 0,'0'0'4453'0'0,"0"0"-4362"0"0,0-1-1 0 0,0 1 1 0 0,0-1-1 0 0,0 1 1 0 0,0-1 0 0 0,0 1-1 0 0,-1-1 1 0 0,1 1-1 0 0,0-1 1 0 0,0 1-1 0 0,0-1 1 0 0,-1 1 0 0 0,1 0-1 0 0,0-1 1 0 0,0 1-1 0 0,-1-1 1 0 0,1 1-1 0 0,0 0 1 0 0,-1-1 0 0 0,0 1-74 0 0,0 0 1 0 0,-1-1-1 0 0,1 1 1 0 0,0 0 0 0 0,0 0-1 0 0,0 0 1 0 0,-1 1 0 0 0,1-1-1 0 0,0 0 1 0 0,0 0-1 0 0,0 1 1 0 0,0-1 0 0 0,-1 0-1 0 0,1 1 1 0 0,0-1 0 0 0,0 1-1 0 0,0 0 1 0 0,0-1-1 0 0,0 1 1 0 0,0 0 0 0 0,0-1-1 0 0,0 1 1 0 0,1 0-1 0 0,-1 0 1 0 0,0 0 0 0 0,0 0-1 0 0,1 0 1 0 0,-1 0 0 0 0,0 0-1 0 0,1 0 1 0 0,-1 0-1 0 0,1 0 1 0 0,0 0 0 0 0,-1 1-1 0 0,1-1 1 0 0,0 0 0 0 0,0 0-1 0 0,-1 0 1 0 0,1 1-1 0 0,0-1 1 0 0,0 0 0 0 0,1 2-1 0 0,0-2-28 0 0,-1-1 0 0 0,1 0 0 0 0,0 1 0 0 0,0-1 0 0 0,0 0-1 0 0,0 0 1 0 0,0 0 0 0 0,0 0 0 0 0,0 1 0 0 0,0-1 0 0 0,0 0-1 0 0,0-1 1 0 0,2 1 0 0 0,-1 0 15 0 0,10 0 77 0 0,-6 1-18 0 0,-1-1 1 0 0,0 0-1 0 0,1-1 1 0 0,-1 1-1 0 0,10-3 0 0 0,-14 3-27 0 0,0-1 0 0 0,0 1 0 0 0,0-1 0 0 0,1 1 0 0 0,-1-1 1 0 0,0 0-1 0 0,0 1 0 0 0,0-1 0 0 0,0 0 0 0 0,-1 0 0 0 0,1 0 0 0 0,0 0 0 0 0,0 0 0 0 0,0 0 0 0 0,-1 0 0 0 0,1 0 0 0 0,0 0 0 0 0,-1 0 0 0 0,1 0 0 0 0,-1 0 0 0 0,1 0 0 0 0,-1 0 0 0 0,0-1 0 0 0,1 1 0 0 0,-1 0 0 0 0,0 0 0 0 0,0-1 0 0 0,0 1 0 0 0,0-2 0 0 0,0 2-37 0 0,0 0-1 0 0,0 0 0 0 0,0 0 1 0 0,0 1-1 0 0,0-1 0 0 0,0 0 1 0 0,-1 0-1 0 0,1 0 0 0 0,0 1 1 0 0,-1-1-1 0 0,1 0 0 0 0,0 0 1 0 0,-1 1-1 0 0,1-1 0 0 0,-1 0 1 0 0,1 1-1 0 0,-1-1 0 0 0,1 0 1 0 0,-1 1-1 0 0,1-1 0 0 0,-1 1 1 0 0,0-1-1 0 0,1 1 1 0 0,-1-1-1 0 0,0 1 0 0 0,1-1 1 0 0,-1 1-1 0 0,0 0 0 0 0,0-1 1 0 0,-1 1-1 0 0,-2-1 8 0 0,-1 0 0 0 0,1 1 1 0 0,0-1-1 0 0,-9 2 0 0 0,4-1 33 0 0,8 0-51 0 0,0 0-1 0 0,1 0 1 0 0,-1 1 0 0 0,0-1-1 0 0,0 0 1 0 0,1 1 0 0 0,-1-1 0 0 0,0 0-1 0 0,1 1 1 0 0,-1-1 0 0 0,0 1-1 0 0,1-1 1 0 0,-1 1 0 0 0,1-1 0 0 0,-1 1-1 0 0,1-1 1 0 0,-1 1 0 0 0,1 0-1 0 0,-1-1 1 0 0,1 1 0 0 0,-1 1 0 0 0,-9 20-1732 0 0,6-11-679 0 0,-2 0-2035 0 0</inkml:trace>
</inkml:ink>
</file>

<file path=ppt/ink/ink6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3.733"/>
    </inkml:context>
    <inkml:brush xml:id="br0">
      <inkml:brushProperty name="width" value="0.05" units="cm"/>
      <inkml:brushProperty name="height" value="0.05" units="cm"/>
      <inkml:brushProperty name="color" value="#66CC00"/>
    </inkml:brush>
  </inkml:definitions>
  <inkml:trace contextRef="#ctx0" brushRef="#br0">3 0 624 0 0,'0'0'5240'0'0,"-2"5"-3818"0"0,29-1-1488 0 0,-23-3 36 0 0,1-1 0 0 0,-1 0 0 0 0,1 1 1 0 0,-1 0-1 0 0,0 0 0 0 0,1 1 1 0 0,3 1-1 0 0,29 3-240 0 0,-13 0 142 0 0,-17-1 88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6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4.855"/>
    </inkml:context>
    <inkml:brush xml:id="br0">
      <inkml:brushProperty name="width" value="0.05" units="cm"/>
      <inkml:brushProperty name="height" value="0.05" units="cm"/>
      <inkml:brushProperty name="color" value="#66CC00"/>
    </inkml:brush>
  </inkml:definitions>
  <inkml:trace contextRef="#ctx0" brushRef="#br0">66 4 320 0 0,'0'0'3108'0'0,"-3"0"-2942"0"0,-37 0 3371 0 0,22-1-3122 0 0,13-1-634 0 0,14 2 218 0 0,-2 0 18 0 0,0 1-1 0 0,0 0 1 0 0,0 0 0 0 0,0 1 0 0 0,7 3-1 0 0,20 3-97 0 0,-16 1-875 0 0,-15-5-2232 0 0,-3-2 1972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0.935"/>
    </inkml:context>
    <inkml:brush xml:id="br0">
      <inkml:brushProperty name="width" value="0.35" units="cm"/>
      <inkml:brushProperty name="height" value="0.35" units="cm"/>
    </inkml:brush>
  </inkml:definitions>
  <inkml:trace contextRef="#ctx0" brushRef="#br0">2189 827 3458 0 0,'0'0'4554'0'0,"-8"-12"-3802"0"0,-26-39 32 0 0,33 50-731 0 0,0 0 0 0 0,0 0 0 0 0,0 0-1 0 0,0 0 1 0 0,1-1 0 0 0,-1 1 0 0 0,0 0-1 0 0,1-1 1 0 0,-1 1 0 0 0,1-1 0 0 0,-1 1-1 0 0,1 0 1 0 0,0-1 0 0 0,0 1 0 0 0,-1-1-1 0 0,2-11 1503 0 0,-16 16-723 0 0,3 2-781 0 0,0 1 1 0 0,1 1-1 0 0,-1 0 0 0 0,2 0 0 0 0,-15 14 0 0 0,-5 2 45 0 0,-287 210 1235 0 0,295-219-1189 0 0,27-26-361 0 0,14-7 340 0 0,35-27 1 0 0,-4 4 54 0 0,-44 37-164 0 0,79-78 77 0 0,-71 68-45 0 0,-2 0 0 0 0,0 0 0 0 0,20-35 0 0 0,-30 48-15 0 0,-1 0 0 0 0,0-1 1 0 0,-1 1-1 0 0,1 0 0 0 0,0 0 0 0 0,0 0 0 0 0,-1-1 0 0 0,1 1 0 0 0,-1 0 0 0 0,0-5 0 0 0,-4 7 230 0 0,-14 0-237 0 0,0 2-1 0 0,0 0 0 0 0,1 1 1 0 0,-1 0-1 0 0,1 2 0 0 0,0 0 1 0 0,-18 9-1 0 0,-183 92 155 0 0,205-97-149 0 0,10-8-30 0 0,5-2-114 0 0,14-5 70 0 0,-1-2 1 0 0,0 0 0 0 0,23-17-1 0 0,-18 11 81 0 0,90-61 112 0 0,72-45-31 0 0,-180 118-116 0 0,-1 1-4 0 0,1 1 0 0 0,-1-1 0 0 0,0 0 1 0 0,1 0-1 0 0,-1 1 0 0 0,1-1 1 0 0,-1 1-1 0 0,1-1 0 0 0,-1 1 0 0 0,4-1 1 0 0,-5 2-25 0 0,0 0 1 0 0,0 0-1 0 0,1 0 1 0 0,-1 0-1 0 0,0 0 1 0 0,0-1-1 0 0,0 1 0 0 0,0 0 1 0 0,0 0-1 0 0,0 0 1 0 0,-1 0-1 0 0,1 2 1 0 0,-3 4 17 0 0,1 1 0 0 0,-1 0 0 0 0,-1-1 1 0 0,1 0-1 0 0,-1 0 0 0 0,-1 0 0 0 0,1 0 1 0 0,-10 10-1 0 0,-2 4 41 0 0,-16 24 65 0 0,-46 85 0 0 0,76-125-91 0 0,-1 0 1 0 0,1 0-1 0 0,0 0 1 0 0,0 1-1 0 0,0-1 1 0 0,1 0-1 0 0,0 1 1 0 0,0 0-1 0 0,0 6 1 0 0,1-11-6 0 0,0 0 0 0 0,0 0 1 0 0,0-1-1 0 0,0 1 0 0 0,0 0 0 0 0,0 0 1 0 0,0 0-1 0 0,0 0 0 0 0,0 0 0 0 0,0 0 1 0 0,1-1-1 0 0,-1 1 0 0 0,0 0 0 0 0,1 0 1 0 0,-1 0-1 0 0,1-1 0 0 0,-1 1 0 0 0,1 1 1 0 0,1-1-9 0 0,0-1 1 0 0,-1 1 0 0 0,1 0-1 0 0,0-1 1 0 0,-1 0-1 0 0,1 1 1 0 0,0-1-1 0 0,0 0 1 0 0,-1 0 0 0 0,4 0-1 0 0,13 0-1 0 0,-1-1 1 0 0,0-1-1 0 0,1 0 0 0 0,-1-1 0 0 0,0-1 0 0 0,-1-1 0 0 0,22-9 0 0 0,117-59 233 0 0,-124 57-196 0 0,609-345 322 0 0,-621 348-338 0 0,-117 76 442 0 0,27-20-415 0 0,-424 324-3 0 0,487-360-35 0 0,0-2-1 0 0,1 2 0 0 0,-1-1 0 0 0,1 1 0 0 0,0 1 0 0 0,1-1 0 0 0,0 1 0 0 0,-8 13 0 0 0,14-21-4 0 0,0 0 0 0 0,-1 1 0 0 0,1-1 1 0 0,0 0-1 0 0,0 0 0 0 0,-1 1 0 0 0,1-1 1 0 0,0 0-1 0 0,0 1 0 0 0,0-1 0 0 0,-1 1 0 0 0,1-1 1 0 0,0 0-1 0 0,0 1 0 0 0,0-1 0 0 0,0 0 1 0 0,0 1-1 0 0,0-1 0 0 0,0 1 0 0 0,0-1 1 0 0,0 0-1 0 0,0 1 0 0 0,0-1 0 0 0,0 1 0 0 0,0-1 1 0 0,0 0-1 0 0,0 1 0 0 0,1-1 0 0 0,-1 0 1 0 0,0 1-1 0 0,0-1 0 0 0,0 0 0 0 0,1 1 1 0 0,-1-1-1 0 0,0 0 0 0 0,0 1 0 0 0,1-1 0 0 0,-1 0 1 0 0,0 0-1 0 0,0 1 0 0 0,1-1 0 0 0,0 1 1 0 0,23-3-293 0 0,4-4 232 0 0,1 0 0 0 0,34-15 0 0 0,60-28 212 0 0,-102 40-134 0 0,889-442 220 0 0,-678 313-239 0 0,-230 137-40 0 0,-4 5-23 0 0,-3 2 57 0 0,0 1-1 0 0,0-1 0 0 0,0-1 1 0 0,-1 1-1 0 0,0-1 0 0 0,0 0 0 0 0,0 0 1 0 0,-1-1-1 0 0,-7 5 0 0 0,-7 4 36 0 0,-447 277 88 0 0,347-218-70 0 0,24-14-35 0 0,-105 84-1 0 0,196-136-6 0 0,1-3-1 0 0,0 1 0 0 0,0 0 0 0 0,0 0 1 0 0,1 0-1 0 0,0 0 0 0 0,0 1 0 0 0,0-1 0 0 0,0 1 0 0 0,1 0 0 0 0,-1 1 0 0 0,-3 9 0 0 0,7-9-59 0 0,9-4-65 0 0,3-2 42 0 0,-1 0-1 0 0,1-1 0 0 0,-1 0 0 0 0,19-5 1 0 0,55-19 6 0 0,520-223 393 0 0,-27-57-331 0 0,-553 292 33 0 0,34-23 19 0 0,-54 32-88 0 0,-12 5-40 0 0,-550 299 295 0 0,386-201-99 0 0,5-5-142 0 0,149-84 31 0 0,14-9 3 0 0,0 0 0 0 0,0 0 0 0 0,1 1 0 0 0,-1-1 0 0 0,1 1 0 0 0,-1 0 1 0 0,1 0-1 0 0,0 0 0 0 0,-1 0 0 0 0,1 0 0 0 0,0 0 0 0 0,0 1 0 0 0,1-1 0 0 0,-4 5 0 0 0,5-4-70 0 0,8-3-71 0 0,9-1 40 0 0,1 0 0 0 0,-1-1 0 0 0,0-1 0 0 0,17-6 0 0 0,74-26 206 0 0,-70 22-93 0 0,739-302 222 0 0,-294 111-196 0 0,-300 131-42 0 0,-155 63-51 0 0,-53 21-113 0 0,7-3 147 0 0,-1233 600 537 0 0,1233-598-508 0 0,4-3 0 0 0,1 0-1 0 0,0 2 1 0 0,0-1-1 0 0,-18 18 0 0 0,27-21-20 0 0,7-2-59 0 0,1-3 28 0 0,0 0 0 0 0,0 0 0 0 0,-1 0 0 0 0,1-1 0 0 0,0 1 0 0 0,3-2 0 0 0,61-14 47 0 0,-2-3 0 0 0,72-31 1 0 0,-61 21 23 0 0,1018-392 24 0 0,-784 298 18 0 0,-305 121-64 0 0,206-86 25 0 0,-193 78-15 0 0,-15 7-11 0 0,-7 2-6 0 0,-10 2-8 0 0,1 1 0 0 0,-24 6 0 0 0,-301 88 113 0 0,214-58-36 0 0,-568 190 580 0 0,11 21-304 0 0,317-122-328 0 0,352-123-69 0 0,11-2-77 0 0,18-6-134 0 0,143-61 327 0 0,-2-14 89 0 0,-159 79-146 0 0,90-47 7 0 0,-86 45-9 0 0,-4 1-1 0 0,1 1 1 0 0,0 0 0 0 0,0-1-1 0 0,0 1 1 0 0,-1-1 0 0 0,1 1-1 0 0,0-1 1 0 0,0 1-1 0 0,-1-1 1 0 0,1 1 0 0 0,-1-1-1 0 0,1 0 1 0 0,0 1 0 0 0,-1-1-1 0 0,1 0 1 0 0,-1 1 0 0 0,1-1-1 0 0,-1 0 1 0 0,0 0 0 0 0,1 0-1 0 0,-1 1 1 0 0,0-2 0 0 0,-6 1-47 0 0,-32 2 44 0 0,1 2 1 0 0,-54 11-1 0 0,-76 26 15 0 0,89-20-9 0 0,-531 156 212 0 0,568-159-222 0 0,51-18-118 0 0,42-6 74 0 0,-1-4 0 0 0,91-29-1 0 0,-83 22 53 0 0,654-219 149 0 0,-226 71-77 0 0,-458 155-144 0 0,-47 15-160 0 0,-299 112 499 0 0,197-70-230 0 0,-468 180 225 0 0,10 22-198 0 0,559-240-59 0 0,15-6-11 0 0,-1 0 0 0 0,0 0 0 0 0,1 0 0 0 0,-1 1 0 0 0,1 0-1 0 0,-4 3 1 0 0,17-7-212 0 0,58-17 101 0 0,85-34-1 0 0,-92 30 123 0 0,207-75 56 0 0,855-289 22 0 0,-1073 375-379 0 0,-394 142 614 0 0,219-80-110 0 0,-545 245 360 0 0,656-289-567 0 0,1 0 0 0 0,0 1 0 0 0,0 1 0 0 0,1 0-1 0 0,-14 12 1 0 0,24-17-54 0 0,10-3-46 0 0,14-2 37 0 0,0-1 0 0 0,0-1-1 0 0,-1 0 1 0 0,40-13 0 0 0,-51 13 64 0 0,411-128 256 0 0,-2-17-236 0 0,-162 56-59 0 0,-188 68 29 0 0,768-249-70 0 0,-908 291-115 0 0,-51 15 239 0 0,-564 230 228 0 0,22 50-27 0 0,632-297-225 0 0,-112 62 33 0 0,118-59-106 0 0,25-16-9 0 0,10-2-45 0 0,17-3 51 0 0,0-2 0 0 0,0 0 0 0 0,0-2 0 0 0,37-13 0 0 0,587-201 165 0 0,-284 92-144 0 0,-121 46 27 0 0,426-148 23 0 0,-12-15 95 0 0,-666 246-170 0 0,-19 5 30 0 0,-78 30 106 0 0,-179 64-18 0 0,-478 173 2 0 0,16 26 32 0 0,474-170 36 0 0,256-120-116 0 0,-23 16-1 0 0,29-15-57 0 0,10-10 42 0 0,0 0-1 0 0,0 1 0 0 0,0-1 1 0 0,0 0-1 0 0,0 0 0 0 0,0 0 1 0 0,0 0-1 0 0,0 1 0 0 0,0-1 1 0 0,0 0-1 0 0,0 0 0 0 0,0 0 1 0 0,0 0-1 0 0,0 0 1 0 0,1 1-1 0 0,-1-1 0 0 0,0 0 1 0 0,0 0-1 0 0,0 0 0 0 0,0 0 1 0 0,0 0-1 0 0,0 0 0 0 0,0 1 1 0 0,0-1-1 0 0,0 0 0 0 0,1 0 1 0 0,-1 0-1 0 0,0 0 0 0 0,0 0 1 0 0,0 0-1 0 0,0 0 0 0 0,0 0 1 0 0,1 0-1 0 0,-1 0 0 0 0,0 0 1 0 0,0 1-1 0 0,0-1 0 0 0,0 0 1 0 0,0 0-1 0 0,1 0 0 0 0,-1 0 1 0 0,4 0-50 0 0,0 0 0 0 0,0 0 0 0 0,0-1 0 0 0,0 1 0 0 0,7-2 0 0 0,196-56-130 0 0,-170 46 183 0 0,1212-390 41 0 0,-512 145-12 0 0,-14 5 159 0 0,-747 257-331 0 0,-40 12 135 0 0,-893 330-9 0 0,664-235 72 0 0,131-51-47 0 0,-424 171 57 0 0,530-203-18 0 0,49-24-70 0 0,17-3-68 0 0,7-2 2 0 0,0 0 1 0 0,0-2-1 0 0,24-4 1 0 0,59-18 76 0 0,-77 18 19 0 0,167-46 80 0 0,695-215 71 0 0,-6-17 29 0 0,-803 259-166 0 0,97-32 2 0 0,8-6-64 0 0,-175 60-36 0 0,-10 3 34 0 0,-17 5-14 0 0,-79 25 67 0 0,-2042 720 72 0 0,2082-728-64 0 0,-125 53 132 0 0,168-65-125 0 0,17-10-27 0 0,0 0 0 0 0,0 1 0 0 0,0-1 0 0 0,0 0 0 0 0,-1 0 0 0 0,1 0 0 0 0,0 0 0 0 0,0 0 0 0 0,0 0 0 0 0,0 1 1 0 0,0-1-1 0 0,0 0 0 0 0,0 0 0 0 0,1 0 0 0 0,-1 0 0 0 0,0 0 0 0 0,0 0 0 0 0,0 0 0 0 0,0 1 0 0 0,0-1 0 0 0,0 0 0 0 0,0 0 0 0 0,0 0 1 0 0,0 0-1 0 0,0 0 0 0 0,0 0 0 0 0,0 0 0 0 0,0 0 0 0 0,0 1 0 0 0,1-1 0 0 0,-1 0 0 0 0,0 0 0 0 0,0 0 0 0 0,0 0 0 0 0,0 0 0 0 0,0 0 1 0 0,0 0-1 0 0,0 0 0 0 0,0 0 0 0 0,1 0 0 0 0,-1 0 0 0 0,0 0 0 0 0,0 0 0 0 0,0 0 0 0 0,0 0 0 0 0,0 0 0 0 0,0 0 0 0 0,1 0 0 0 0,-1 0 1 0 0,0 0-1 0 0,0 0 0 0 0,0 0 0 0 0,0 0 0 0 0,0 0 0 0 0,0 0 0 0 0,0 0 0 0 0,1 0 0 0 0,-1 0 0 0 0,0 0 0 0 0,39-6-158 0 0,85-25 92 0 0,54-21 99 0 0,45-14 3 0 0,2171-715 186 0 0,-2205 714-231 0 0,-175 61-74 0 0,-26 9 57 0 0,-39 11 39 0 0,-252 93 77 0 0,178-60-77 0 0,-989 368 20 0 0,1056-393-35 0 0,-150 59 6 0 0,157-54 8 0 0,44-21-37 0 0,9-4-63 0 0,32-3-228 0 0,64-12 266 0 0,53-23 123 0 0,52-16-19 0 0,982-308 204 0 0,-399 114-300 0 0,-583 187 51 0 0,28-7 19 0 0,-205 58-1 0 0,-26 7-30 0 0,-3 1-10 0 0,-19 3-50 0 0,-83 17 18 0 0,-66 23 97 0 0,-51 19-88 0 0,-813 265 101 0 0,13 30-3 0 0,805-279-85 0 0,-56 19-13 0 0,72-21 55 0 0,147-56 23 0 0,12-5 54 0 0,-42 23-1 0 0,80-35-105 0 0,19-5-45 0 0,85-17-115 0 0,67-25 185 0 0,51-17 55 0 0,1241-378 108 0 0,-507 148-213 0 0,-754 232 50 0 0,23 0-12 0 0,-205 54-18 0 0,-16 4 1 0 0,-3 1-2 0 0,-30 5-49 0 0,-75 22 39 0 0,-54 21 43 0 0,-2128 754 45 0 0,2136-737-61 0 0,128-53 12 0 0,-34 21 0 0 0,58-32-14 0 0,0-1 0 0 0,0 1 0 0 0,1 0 0 0 0,-1 1 0 0 0,0-1 1 0 0,1 0-1 0 0,-1 0 0 0 0,1 1 0 0 0,0-1 0 0 0,-1 1 0 0 0,1-1 0 0 0,0 1 0 0 0,-1 2 0 0 0,2-4-1 0 0,0 1-1 0 0,0-1 1 0 0,0 0 0 0 0,1 0 0 0 0,-1 1 0 0 0,0-1-1 0 0,0 0 1 0 0,1 0 0 0 0,-1 1 0 0 0,0-1 0 0 0,0 0 0 0 0,1 0-1 0 0,-1 0 1 0 0,0 0 0 0 0,1 1 0 0 0,-1-1 0 0 0,0 0 0 0 0,0 0-1 0 0,1 0 1 0 0,-1 0 0 0 0,0 0 0 0 0,1 0 0 0 0,-1 0 0 0 0,0 0-1 0 0,1 0 1 0 0,-1 0 0 0 0,1 0 0 0 0,25-1-145 0 0,95-18 1 0 0,65-23 214 0 0,456-129 94 0 0,1-18-84 0 0,-523 153-93 0 0,484-148-46 0 0,191-56 68 0 0,-762 231-1 0 0,-18 5 5 0 0,-1-1 1 0 0,22-9 0 0 0,-34 13 13 0 0,-9 1 51 0 0,-20 4 56 0 0,1 0-1 0 0,0 2 1 0 0,-28 10 0 0 0,32-9-107 0 0,-1165 386-17 0 0,23 51 140 0 0,1104-421-160 0 0,29-12 12 0 0,1 2 0 0 0,-34 18 0 0 0,56-24-23 0 0,8-7 22 0 0,0 1-1 0 0,0-1 1 0 0,0 0 0 0 0,0 0-1 0 0,1 0 1 0 0,-1 1 0 0 0,0-1-1 0 0,0 0 1 0 0,0 0 0 0 0,0 0-1 0 0,0 0 1 0 0,1 1 0 0 0,-1-1-1 0 0,0 0 1 0 0,0 0 0 0 0,0 0-1 0 0,0 0 1 0 0,1 0 0 0 0,-1 0-1 0 0,0 1 1 0 0,0-1 0 0 0,0 0 0 0 0,1 0-1 0 0,-1 0 1 0 0,0 0 0 0 0,0 0-1 0 0,0 0 1 0 0,1 0 0 0 0,-1 0-1 0 0,0 0 1 0 0,1 0 0 0 0,6 0-50 0 0,1 1 0 0 0,0-2 0 0 0,-1 1 1 0 0,16-3-1 0 0,100-24-20 0 0,52-20 88 0 0,49-16 69 0 0,804-246-125 0 0,-533 159 11 0 0,-206 63 23 0 0,-42 13 9 0 0,-54 16 50 0 0,21-9 4 0 0,-199 60-64 0 0,-29 9 19 0 0,-48 12 63 0 0,-72 25 87 0 0,-46 16-202 0 0,-710 229 53 0 0,13 43 137 0 0,710-257-107 0 0,132-55-31 0 0,14-6 0 0 0,-1 0-1 0 0,2 2 0 0 0,-1 0 1 0 0,-26 20-1 0 0,39-20-84 0 0,8-11 70 0 0,0 0 0 0 0,0 0 0 0 0,0 1 0 0 0,0-1-1 0 0,0 0 1 0 0,1 0 0 0 0,-1 0 0 0 0,0 1 0 0 0,0-1 0 0 0,0 0 0 0 0,0 0 0 0 0,1 0-1 0 0,-1 1 1 0 0,0-1 0 0 0,0 0 0 0 0,0 0 0 0 0,1 0 0 0 0,-1 0 0 0 0,0 0 0 0 0,0 0-1 0 0,0 1 1 0 0,1-1 0 0 0,-1 0 0 0 0,0 0 0 0 0,0 0 0 0 0,1 0 0 0 0,-1 0 0 0 0,0 0-1 0 0,0 0 1 0 0,1 0 0 0 0,5 0-31 0 0,-1 0 1 0 0,1 0-1 0 0,0-1 0 0 0,6-1 0 0 0,100-23-3 0 0,60-22 61 0 0,47-17-35 0 0,1514-443-34 0 0,-1518 445 85 0 0,55-22 3 0 0,-238 74-28 0 0,21-9 31 0 0,-52 18-28 0 0,-11 2 28 0 0,-33 5 72 0 0,0 3 1 0 0,-48 15-1 0 0,-1303 456-126 0 0,1351-463 14 0 0,-1 0 2 0 0,1 1 1 0 0,-44 27 0 0 0,83-42-11 0 0,1-1-1 0 0,-1 1 1 0 0,1-1 0 0 0,-1 1-1 0 0,1 0 1 0 0,-5 6 0 0 0,6-2-40 0 0,14-4-28 0 0,23-2 17 0 0,0-1 0 0 0,0-1-1 0 0,39-7 1 0 0,114-27 85 0 0,-169 31-35 0 0,1242-319 83 0 0,-1237 316-94 0 0,-4 2-28 0 0,0-2 1 0 0,19-9-1 0 0,-38 15-50 0 0,-6 0 48 0 0,-14 2-7 0 0,-54 11 34 0 0,-137 42 0 0 0,156-38 6 0 0,-694 218 382 0 0,689-210-238 0 0,48-17-109 0 0,11-7-24 0 0,0 0-1 0 0,0 0 1 0 0,-1 0 0 0 0,1 0 0 0 0,0 0-1 0 0,0 0 1 0 0,0 0 0 0 0,0 0 0 0 0,0 0-1 0 0,0 0 1 0 0,0 0 0 0 0,0 1 0 0 0,0-1-1 0 0,0 0 1 0 0,0 0 0 0 0,0 0 0 0 0,0 0-1 0 0,0 0 1 0 0,0 0 0 0 0,0 0-1 0 0,-1 0 1 0 0,1 0 0 0 0,0 0 0 0 0,0 0-1 0 0,0 0 1 0 0,0 1 0 0 0,0-1 0 0 0,0 0-1 0 0,0 0 1 0 0,0 0 0 0 0,0 0 0 0 0,0 0-1 0 0,0 0 1 0 0,0 0 0 0 0,0 0 0 0 0,0 0-1 0 0,0 0 1 0 0,0 0 0 0 0,1 1-1 0 0,-1-1 1 0 0,0 0 0 0 0,0 0 0 0 0,0 0-1 0 0,0 0 1 0 0,0 0 0 0 0,0 0 0 0 0,0 0-1 0 0,0 0 1 0 0,0 0 0 0 0,0 0 0 0 0,0 0-1 0 0,0 0 1 0 0,0 0 0 0 0,0 0 0 0 0,0 0-1 0 0,0 0 1 0 0,1 0 0 0 0,-1 0 0 0 0,0 1-1 0 0,26-1-87 0 0,29-6 40 0 0,63-13-1 0 0,62-24 130 0 0,-114 27-73 0 0,556-146 37 0 0,2-1-445 0 0,-651 163 109 0 0,-28 8 325 0 0,-76 18-1 0 0,-63 28-42 0 0,119-33-3 0 0,-459 145 70 0 0,523-163-51 0 0,-14 5 16 0 0,-41 20 1 0 0,62-24-102 0 0,8-3 5 0 0,15-1-72 0 0,29-6 92 0 0,79-20 1 0 0,57-26 119 0 0,-136 38-61 0 0,342-107-476 0 0,-375 116 439 0 0,-5 3 19 0 0,-1-1 0 0 0,1-1 0 0 0,-1 0-1 0 0,0 0 1 0 0,15-10 0 0 0,-19 4 64 0 0,-5 10-51 0 0,0 0-1 0 0,0-1 1 0 0,1 1-1 0 0,-1 0 1 0 0,0 0-1 0 0,0 0 1 0 0,0 0 0 0 0,0 0-1 0 0,0-1 1 0 0,0 1-1 0 0,0 0 1 0 0,0 0-1 0 0,0 0 1 0 0,0 0 0 0 0,0-1-1 0 0,0 1 1 0 0,0 0-1 0 0,0 0 1 0 0,0 0-1 0 0,0 0 1 0 0,0-1-1 0 0,0 1 1 0 0,0 0 0 0 0,0 0-1 0 0,0 0 1 0 0,-1 0-1 0 0,1 0 1 0 0,0-1-1 0 0,0 1 1 0 0,0 0-1 0 0,0 0 1 0 0,0 0 0 0 0,0 0-1 0 0,0 0 1 0 0,0 0-1 0 0,-1 0 1 0 0,1-1-1 0 0,0 1 1 0 0,0 0 0 0 0,0 0-1 0 0,0 0 1 0 0,0 0-1 0 0,-1 0 1 0 0,1 0-1 0 0,0 0 1 0 0,0 0-1 0 0,0 0 1 0 0,0 0 0 0 0,-1 0-1 0 0,-45 19-4 0 0,-43 25 0 0 0,21-9 55 0 0,-204 88 253 0 0,191-87-261 0 0,78-35-45 0 0,2-1-1 0 0,0 0 0 0 0,1 1 0 0 0,-1-1 0 0 0,0 0 0 0 0,1 0 0 0 0,-1 1 0 0 0,0-1 0 0 0,1 0 0 0 0,-1 1 0 0 0,1-1 0 0 0,-1 1 0 0 0,1-1 0 0 0,-1 0 0 0 0,1 1 1 0 0,-1-1-1 0 0,1 1 0 0 0,-1 0 0 0 0,1-1 0 0 0,0 1 0 0 0,-1-1 0 0 0,1 2 0 0 0,13-3-411 0 0,-3-1 406 0 0,0 0 0 0 0,0-1-1 0 0,-1 0 1 0 0,1-1 0 0 0,12-6-1 0 0,8-2 19 0 0,-25 10-8 0 0,50-21 26 0 0,-242 114-4 0 0,-597 252 298 0 0,-13-45-228 0 0,627-236-86 0 0,98-36-15 0 0,-236 92 30 0 0,266-98-31 0 0,35-14-15 0 0,22-8-154 0 0,55-15 128 0 0,84-33 0 0 0,-77 23 61 0 0,855-298-198 0 0,-912 317 180 0 0,-16 3-30 0 0,-8 5 27 0 0,1 0 0 0 0,0 0 1 0 0,-1 0-1 0 0,1 1 0 0 0,0-1 0 0 0,-1 1 0 0 0,-4 2 1 0 0,-236 77 209 0 0,165-51-184 0 0,-852 338 585 0 0,27 45-550 0 0,830-376-49 0 0,73-35-6 0 0,0-1 1 0 0,0 0 0 0 0,0 1-1 0 0,0-1 1 0 0,0 1-1 0 0,0-1 1 0 0,0 1 0 0 0,0-1-1 0 0,0 1 1 0 0,1 0 0 0 0,-1 0-1 0 0,0-1 1 0 0,0 1-1 0 0,1 0 1 0 0,-1 0 0 0 0,0 0-1 0 0,1 0 1 0 0,-1 1 0 0 0,3-2-8 0 0,-1 0 0 0 0,1 0 0 0 0,0 0 1 0 0,-1 0-1 0 0,1 0 0 0 0,0-1 0 0 0,0 1 1 0 0,-1 0-1 0 0,1-1 0 0 0,0 1 1 0 0,-1-1-1 0 0,1 0 0 0 0,1-1 0 0 0,88-35-46 0 0,287-117 233 0 0,801-311-287 0 0,-1035 415-74 0 0,-133 44 132 0 0,-20 6 60 0 0,-31 8 60 0 0,-243 95 115 0 0,204-72-182 0 0,-444 191 171 0 0,5 17-37 0 0,245-112-154 0 0,-123 61 1 0 0,-132 59 17 0 0,470-221-9 0 0,178-79-172 0 0,36-17 172 0 0,50-21 44 0 0,41-19-25 0 0,673-290 147 0 0,14 51-203 0 0,-719 286 89 0 0,-199 59-170 0 0,-24 9 48 0 0,-40 14-11 0 0,33-14 62 0 0,-704 288 111 0 0,17 41 140 0 0,671-318-213 0 0,-2 1-2 0 0,1 0 0 0 0,-57 42 0 0 0,87-58-9 0 0,1 0 1 0 0,0-1-1 0 0,0 1 0 0 0,0 0 1 0 0,0 0-1 0 0,0 0 1 0 0,0 0-1 0 0,0 1 0 0 0,0-1 1 0 0,0 0-1 0 0,0 0 0 0 0,0 0 1 0 0,1 1-1 0 0,-1-1 1 0 0,1 0-1 0 0,-2 3 0 0 0,2-3 0 0 0,1-1 0 0 0,-1 0 0 0 0,0 0 0 0 0,0 1 0 0 0,1-1 1 0 0,-1 0-1 0 0,0 0 0 0 0,1 1 0 0 0,-1-1 0 0 0,0 0 0 0 0,1 0 0 0 0,-1 0 0 0 0,0 0 0 0 0,1 1 0 0 0,-1-1 0 0 0,0 0 0 0 0,1 0 0 0 0,-1 0 0 0 0,0 0 0 0 0,1 0 0 0 0,-1 0 0 0 0,0 0 0 0 0,2 0 0 0 0,20-2-67 0 0,28-8 72 0 0,85-28 1 0 0,57-33 95 0 0,-157 57-101 0 0,536-222-98 0 0,193-73-6 0 0,-720 292 112 0 0,-37 13-15 0 0,-7 3-16 0 0,-20 3-13 0 0,-214 63 114 0 0,-12 25 42 0 0,186-68-102 0 0,-596 241 267 0 0,5 17-9 0 0,16-7-246 0 0,388-170 17 0 0,57-22 8 0 0,160-68-46 0 0,-146 59 50 0 0,156-67-67 0 0,41-18-78 0 0,70-32 18 0 0,28-13 86 0 0,1306-648-229 0 0,-799 389-110 0 0,-595 301 39 0 0,-61 29 0 0 0,-6 2 220 0 0,-99 44 34 0 0,-57 22 73 0 0,-1967 906 1219 0 0,1849-833-1153 0 0,38-18-20 0 0,51-25 28 0 0,-33 14-141 0 0,224-111 19 0 0,24-14-88 0 0,46-27-156 0 0,547-314 299 0 0,-513 300-76 0 0,-17 10 13 0 0,1700-927 23 0 0,-1582 866 33 0 0,13-3-366 0 0,-307 154-246 0 0,63-33 554 0 0,-129 60 15 0 0,-213 97-23 0 0,-935 449 601 0 0,399-146-122 0 0,889-462-452 0 0,-81 41 16 0 0,120-63-179 0 0,5-3 47 0 0,12-8-10 0 0,29-20-13 0 0,694-429 88 0 0,30 37-74 0 0,616-259 276 0 0,-1325 654-286 0 0,-48 22 28 0 0,-14 5-21 0 0,-21 4 89 0 0,1 1-1 0 0,0 1 1 0 0,-43 18 0 0 0,40-14 51 0 0,-145 57 40 0 0,-45 21-51 0 0,-1063 491 690 0 0,38 75 72 0 0,1016-527-748 0 0,180-102-89 0 0,36-18-6 0 0,31-14-170 0 0,249-145 55 0 0,-175 94 253 0 0,507-301-94 0 0,12 13-88 0 0,454-190 240 0 0,-992 501-93 0 0,-175 78-235 0 0,-57 27 243 0 0,-48 21-38 0 0,-942 466 321 0 0,148-11 147 0 0,744-404-410 0 0,34-22-247 0 0,203-111 168 0 0,16-8 5 0 0,0 0-1 0 0,-1 0 1 0 0,1 1-1 0 0,1-1 1 0 0,-1 1-1 0 0,0 0 1 0 0,1 0-1 0 0,-1 0 0 0 0,-4 7 1 0 0,7-9-117 0 0,7-3-62 0 0,21-8-14 0 0,0-2-1 0 0,33-20 0 0 0,-31 16 176 0 0,118-68 45 0 0,40-29 78 0 0,39-24 10 0 0,655-389-163 0 0,21 33 3 0 0,-630 359 72 0 0,-45 26 32 0 0,-57 31 3 0 0,-54 28-50 0 0,-103 44-32 0 0,-12 5 14 0 0,-3 2-4 0 0,-59 26-125 0 0,-86 39 144 0 0,-62 25 18 0 0,-52 26 29 0 0,-1735 857 1017 0 0,1721-834-937 0 0,52-29-77 0 0,-41 18-93 0 0,233-116 26 0 0,24-12-98 0 0,51-30-163 0 0,68-36 224 0 0,52-28 80 0 0,628-374 94 0 0,-92 53-224 0 0,9 29 72 0 0,-479 271 82 0 0,-60 32-16 0 0,-21 16-18 0 0,-193 79-198 0 0,-4 0 136 0 0,-102 41 93 0 0,-49 25 0 0 0,-46 24-29 0 0,-681 343 466 0 0,26 49 248 0 0,633-342-640 0 0,39-24-26 0 0,54-28-45 0 0,-10 4-144 0 0,170-98-289 0 0,16-10 196 0 0,26-18 42 0 0,-10 8 55 0 0,590-377 200 0 0,-355 233-75 0 0,983-579-60 0 0,-1056 638 56 0 0,42-14 21 0 0,-194 96-55 0 0,-27 14 6 0 0,-7 2-3 0 0,-47 17-20 0 0,-338 145 268 0 0,0 26-34 0 0,313-150-73 0 0,-1052 538 279 0 0,916-460-370 0 0,75-40-14 0 0,132-73-13 0 0,0 0 0 0 0,-1-1 0 0 0,-9 4 0 0 0,17-7 15 0 0,0 0-1 0 0,-1 0 0 0 0,1 0 1 0 0,0 0-1 0 0,0 0 1 0 0,0 0-1 0 0,0 0 1 0 0,0 0-1 0 0,0 0 1 0 0,0 0-1 0 0,0 1 0 0 0,-1-1 1 0 0,1 0-1 0 0,0 0 1 0 0,0 0-1 0 0,0 0 1 0 0,0 0-1 0 0,0 0 1 0 0,0 0-1 0 0,0 0 0 0 0,-1 0 1 0 0,1 0-1 0 0,0-1 1 0 0,0 1-1 0 0,0 0 1 0 0,0 0-1 0 0,0 0 0 0 0,0 0 1 0 0,0 0-1 0 0,0 0 1 0 0,-1 0-1 0 0,1 0 1 0 0,0 0-1 0 0,0 0 1 0 0,0 0-1 0 0,0 0 0 0 0,0 0 1 0 0,0 0-1 0 0,0-1 1 0 0,0 1-1 0 0,0 0 1 0 0,0 0-1 0 0,0 0 1 0 0,0 0-1 0 0,0 0 0 0 0,-1 0 1 0 0,1 0-1 0 0,0 0 1 0 0,0-1-1 0 0,0 1 1 0 0,0 0-1 0 0,0 0 1 0 0,0 0-1 0 0,0 0 0 0 0,0 0 1 0 0,0-1-1 0 0,11-10-106 0 0,61-39-58 0 0,372-222 184 0 0,-189 120 28 0 0,-72 40-27 0 0,360-216-34 0 0,10 22 27 0 0,-409 239-129 0 0,-525 243 92 0 0,223-99 45 0 0,-927 456 556 0 0,32 60-365 0 0,1017-571-209 0 0,-74 50 6 0 0,102-64-620 0 0,17-12 375 0 0,28-16 11 0 0,544-332 183 0 0,-153 89 59 0 0,614-387 153 0 0,-1021 636-174 0 0,135-94 4 0 0,-129 82-18 0 0,-27 27 20 0 0,0-1-1 0 0,0 0 1 0 0,0 0-1 0 0,-1 0 1 0 0,1 0-1 0 0,0 0 1 0 0,0-1-1 0 0,0 1 1 0 0,0 0-1 0 0,-1 0 1 0 0,1 0-1 0 0,0 0 1 0 0,0 0-1 0 0,0 0 1 0 0,0 0-1 0 0,0 0 1 0 0,-1 0-1 0 0,1 0 1 0 0,0 0-1 0 0,0 0 1 0 0,0-1-1 0 0,0 1 1 0 0,0 0-1 0 0,0 0 1 0 0,0 0-1 0 0,-1 0 1 0 0,1 0-1 0 0,0 0 1 0 0,0-1-1 0 0,0 1 1 0 0,0 0-1 0 0,0 0 1 0 0,0 0-1 0 0,0 0 1 0 0,0 0-1 0 0,0-1 1 0 0,0 1-1 0 0,0 0 1 0 0,0 0-1 0 0,0 0 1 0 0,0 0-1 0 0,0-1 1 0 0,0 1-1 0 0,0 0 1 0 0,0 0-1 0 0,0 0 1 0 0,0 0-1 0 0,0 0 1 0 0,0-1-1 0 0,0 1 1 0 0,0 0-1 0 0,1 0 1 0 0,-1 0-1 0 0,0 0 1 0 0,0 0-1 0 0,0 0 1 0 0,0-1-1 0 0,0 1 1 0 0,0 0-1 0 0,0 0 1 0 0,0 0-1 0 0,1 0 1 0 0,-1 0 0 0 0,-9 0 32 0 0,1 0 0 0 0,-1 1 0 0 0,0 0 0 0 0,1 0 0 0 0,-1 1 0 0 0,1 0 0 0 0,0 1 0 0 0,0 0 1 0 0,-13 6-1 0 0,-8 3 25 0 0,-462 198 7 0 0,10 29-125 0 0,-505 281 143 0 0,675-352 40 0 0,139-78-83 0 0,146-77-69 0 0,24-13-28 0 0,5-2-14 0 0,14-10-103 0 0,272-177 62 0 0,482-315 126 0 0,22 41 148 0 0,-766 450-135 0 0,-22 10-22 0 0,0 1 1 0 0,0-1 0 0 0,0 1-1 0 0,0-2 1 0 0,0 1 0 0 0,-1 0-1 0 0,1-1 1 0 0,5-6-1 0 0,-9 8-15 0 0,-11 3-1 0 0,-27 6 72 0 0,-63 22 0 0 0,-43 24 70 0 0,120-44-133 0 0,-607 275 5 0 0,15 39 166 0 0,94-49-56 0 0,501-263-107 0 0,-50 21 18 0 0,105-61-246 0 0,265-162 205 0 0,-91 60 13 0 0,-196 122 6 0 0,556-351 87 0 0,16 29-17 0 0,-539 307-174 0 0,-40 19-73 0 0,-9 3 92 0 0,-18 7-16 0 0,-288 113 69 0 0,-7 21 56 0 0,224-98-6 0 0,-996 465 367 0 0,1056-490-364 0 0,27-14-64 0 0,25-11-120 0 0,344-187 66 0 0,-2-23 136 0 0,-336 203-49 0 0,477-299 129 0 0,-479 300-113 0 0,-11 8-6 0 0,0-1 1 0 0,-1-1 0 0 0,14-11-1 0 0,-26 20-3 0 0,0 0 0 0 0,0 0-1 0 0,0 0 1 0 0,1 0 0 0 0,-1 0-1 0 0,0-1 1 0 0,0 1 0 0 0,0 0-1 0 0,1 0 1 0 0,-1 0 0 0 0,0 0 0 0 0,0 0-1 0 0,0-1 1 0 0,0 1 0 0 0,1 0-1 0 0,-1 0 1 0 0,0 0 0 0 0,0 0-1 0 0,0-1 1 0 0,0 1 0 0 0,0 0-1 0 0,0 0 1 0 0,1 0 0 0 0,-1-1 0 0 0,0 1-1 0 0,0 0 1 0 0,0 0 0 0 0,0-1-1 0 0,0 1 1 0 0,0 0 0 0 0,0 0-1 0 0,0 0 1 0 0,0-1 0 0 0,0 1 0 0 0,0 0-1 0 0,0 0 1 0 0,0-1 0 0 0,-1 1-1 0 0,-15 1-46 0 0,-22 6 80 0 0,1 2 0 0 0,-52 20 0 0 0,-83 39-68 0 0,137-53 35 0 0,-473 217 34 0 0,189-83 54 0 0,563-286-267 0 0,-162 88 192 0 0,151-91 55 0 0,252-145 56 0 0,-434 255-113 0 0,-32 16-49 0 0,-19 14 39 0 0,0 0 0 0 0,0 0 0 0 0,1 0-1 0 0,-1 0 1 0 0,0 0 0 0 0,0 0-1 0 0,0 0 1 0 0,0 0 0 0 0,0 0-1 0 0,0 0 1 0 0,0 0 0 0 0,0 0 0 0 0,0 0-1 0 0,0 0 1 0 0,1 0 0 0 0,-1-1-1 0 0,0 1 1 0 0,0 0 0 0 0,0 0-1 0 0,0 0 1 0 0,0 0 0 0 0,0 0 0 0 0,0 0-1 0 0,0 0 1 0 0,0 0 0 0 0,0 0-1 0 0,0 0 1 0 0,0 0 0 0 0,0-1-1 0 0,0 1 1 0 0,0 0 0 0 0,0 0 0 0 0,0 0-1 0 0,0 0 1 0 0,0 0 0 0 0,0 0-1 0 0,0 0 1 0 0,0 0 0 0 0,0-1-1 0 0,0 1 1 0 0,0 0 0 0 0,0 0-1 0 0,0 0 1 0 0,0 0 0 0 0,0 0 0 0 0,0 0-1 0 0,0 0 1 0 0,0 0 0 0 0,0 0-1 0 0,0-1 1 0 0,0 1 0 0 0,0 0-1 0 0,0 0 1 0 0,0 0 0 0 0,0 0 0 0 0,-1 0-1 0 0,1 0 1 0 0,0 0 0 0 0,0 0-1 0 0,0 0 1 0 0,0 0 0 0 0,0 0-1 0 0,0 0 1 0 0,-17 3-6 0 0,16-3 6 0 0,-63 22 82 0 0,-91 45 0 0 0,82-34-91 0 0,-946 463 4 0 0,684-317 95 0 0,356-201-314 0 0,169-123 253 0 0,-87 70-7 0 0,427-301 26 0 0,-494 353-45 0 0,-35 23-2 0 0,-1-1 1 0 0,1 1 0 0 0,0 0-1 0 0,-1 0 1 0 0,1-1 0 0 0,-1 1-1 0 0,1-1 1 0 0,-1 1-1 0 0,1-1 1 0 0,-1 1 0 0 0,1-1-1 0 0,-1 1 1 0 0,1-1 0 0 0,-1 1-1 0 0,1-1 1 0 0,-1 1 0 0 0,0-1-1 0 0,0 0 1 0 0,1 1 0 0 0,-1-2-1 0 0,-1 2-2 0 0,0-1 0 0 0,0 1 0 0 0,0 0-1 0 0,0 0 1 0 0,0 0 0 0 0,0 0-1 0 0,0 0 1 0 0,0 0 0 0 0,0 0 0 0 0,0 0-1 0 0,0 0 1 0 0,0 0 0 0 0,-1 1 0 0 0,1-1-1 0 0,0 0 1 0 0,-1 1 0 0 0,-38 11 1 0 0,0 2 1 0 0,-49 23 0 0 0,-80 48-8 0 0,158-79 7 0 0,-722 446 98 0 0,720-444-119 0 0,10-8-107 0 0,21-19-40 0 0,191-156 204 0 0,-125 108-13 0 0,-81 64-23 0 0,337-265 29 0 0,-323 257-19 0 0,-7 4-5 0 0,0-1 1 0 0,0 0-1 0 0,11-11 1 0 0,-21 19-5 0 0,1-1 0 0 0,-1 1 0 0 0,0 0 1 0 0,0 0-1 0 0,0 0 0 0 0,1 0 0 0 0,-1 0 0 0 0,0 0 1 0 0,0-1-1 0 0,0 1 0 0 0,1 0 0 0 0,-1 0 1 0 0,0 0-1 0 0,0 0 0 0 0,0-1 0 0 0,0 1 0 0 0,1 0 1 0 0,-1 0-1 0 0,0 0 0 0 0,0-1 0 0 0,0 1 0 0 0,0 0 1 0 0,0 0-1 0 0,0-1 0 0 0,0 1 0 0 0,0 0 0 0 0,0 0 1 0 0,0-1-1 0 0,0 1 0 0 0,0 0 0 0 0,0 0 0 0 0,0-1 1 0 0,0 1-1 0 0,0 0 0 0 0,0 0 0 0 0,0-1 0 0 0,0 1 1 0 0,0 0-1 0 0,0 0 0 0 0,0 0 0 0 0,-1-1 0 0 0,1 1 1 0 0,0 0-1 0 0,0 0 0 0 0,0 0 0 0 0,0-1 0 0 0,0 1 1 0 0,-1 0-1 0 0,1 0 0 0 0,0 0 0 0 0,0 0 0 0 0,0-1 1 0 0,-1 1-1 0 0,1 0 0 0 0,0 0 0 0 0,-17-1 60 0 0,12 2-58 0 0,-18 1-7 0 0,-1 1 1 0 0,2 0-1 0 0,-1 2 1 0 0,0 1-1 0 0,-30 13 1 0 0,-109 52-22 0 0,143-61 39 0 0,-316 163 74 0 0,338-188-296 0 0,6 2 216 0 0,1 0 0 0 0,0 0 0 0 0,1 1 0 0 0,25-22 0 0 0,-4 4 8 0 0,15-16-12 0 0,69-72 53 0 0,-115 117-56 0 0,1 0 0 0 0,-1-1 0 0 0,0 1 1 0 0,1-1-1 0 0,-1 0 0 0 0,0 1 0 0 0,0-1 0 0 0,0 0 0 0 0,0 0 1 0 0,0 0-1 0 0,-1 0 0 0 0,1 0 0 0 0,-1 0 0 0 0,1 0 0 0 0,0-2 1 0 0,-1 3-2 0 0,0 1 1 0 0,0 0-1 0 0,0 0 0 0 0,0 0 0 0 0,0 0 0 0 0,0 0 0 0 0,0 0 0 0 0,0 0 0 0 0,0-1 0 0 0,0 1 0 0 0,0 0 0 0 0,0 0 0 0 0,0 0 0 0 0,0 0 0 0 0,0 0 0 0 0,0 0 0 0 0,0 0 0 0 0,0-1 0 0 0,0 1 0 0 0,0 0 0 0 0,0 0 0 0 0,-1 0 0 0 0,1 0 0 0 0,0 0 0 0 0,0 0 0 0 0,0 0 1 0 0,0 0-1 0 0,0 0 0 0 0,0-1 0 0 0,0 1 0 0 0,0 0 0 0 0,0 0 0 0 0,0 0 0 0 0,-1 0 0 0 0,1 0 0 0 0,0 0 0 0 0,0 0 0 0 0,0 0 0 0 0,0 0 0 0 0,0 0 0 0 0,0 0 0 0 0,0 0 0 0 0,0 0 0 0 0,-1 0 0 0 0,1 0 0 0 0,0 0 0 0 0,0 0 0 0 0,0 0 0 0 0,0 0 0 0 0,0 0 1 0 0,0 0-1 0 0,-1 0 0 0 0,1 0 0 0 0,0 0 0 0 0,0 0 0 0 0,0 0 0 0 0,0 0 0 0 0,0 0 0 0 0,0 0 0 0 0,-5 0-3 0 0,-8 0-15 0 0,-1 1 1 0 0,1 0 0 0 0,-1 1-1 0 0,1 0 1 0 0,0 1 0 0 0,0 0-1 0 0,-19 8 1 0 0,-41 22-4 0 0,-104 61-1 0 0,149-74 70 0 0,27-19-90 0 0,3-16-145 0 0,2 7 192 0 0,0 1-1 0 0,1-1 1 0 0,0 1 0 0 0,0-1 0 0 0,0 1 0 0 0,9-8 0 0 0,-6 7 8 0 0,-1 0 0 0 0,-1-1 0 0 0,1 1 0 0 0,4-11-1 0 0,-10 18-9 0 0,-1 1-1 0 0,1-1 0 0 0,-1 1 0 0 0,0-1 0 0 0,1 1 0 0 0,-1-1 1 0 0,0 1-1 0 0,0-1 0 0 0,1 0 0 0 0,-1 1 0 0 0,0-1 0 0 0,0 1 1 0 0,0-1-1 0 0,0 0 0 0 0,0 1 0 0 0,0-1 0 0 0,0 1 0 0 0,0-1 1 0 0,0 0-1 0 0,0 1 0 0 0,0-1 0 0 0,0 1 0 0 0,0-1 0 0 0,0 0 0 0 0,-1 1 1 0 0,1-1-1 0 0,0 1 0 0 0,0-1 0 0 0,-1 1 0 0 0,1-1 0 0 0,0 1 1 0 0,-1-1-1 0 0,1 1 0 0 0,-1-1 0 0 0,1 1 0 0 0,-1-1 0 0 0,1 1 1 0 0,0 0-1 0 0,-1-1 0 0 0,0 0 0 0 0,-2 0 0 0 0,-1 1 1 0 0,1-1-1 0 0,0 0 1 0 0,-1 1-1 0 0,1 0 1 0 0,-5 0-1 0 0,-3-1 5 0 0,3 0-12 0 0,3 1 24 0 0,1 0 1 0 0,-1-1 0 0 0,0 0 0 0 0,1 1-1 0 0,-6-3 1 0 0,9 2-24 0 0,0 1-1 0 0,0-1 1 0 0,0 1-1 0 0,0-1 1 0 0,0 1-1 0 0,0-1 1 0 0,0 0 0 0 0,0 1-1 0 0,1-1 1 0 0,-1 0-1 0 0,0 0 1 0 0,0 0-1 0 0,1 0 1 0 0,-1 1 0 0 0,1-1-1 0 0,-1 0 1 0 0,0 0-1 0 0,1 0 1 0 0,0 0-1 0 0,-1 0 1 0 0,1-1-1 0 0,0 1 1 0 0,-1 0 0 0 0,1 0-1 0 0,0 0 1 0 0,0 0-1 0 0,0-2 1 0 0,0-56 89 0 0,0 58-61 0 0,-1 1-80 0 0,0 1 57 0 0,0-1-1 0 0,0 0 0 0 0,0 0 0 0 0,0 0 0 0 0,0-1 0 0 0,0 1 0 0 0,0 0 1 0 0,0 0-1 0 0,0-1 0 0 0,0 1 0 0 0,0 0 0 0 0,0-1 0 0 0,0 1 0 0 0,0-1 1 0 0,0 1-1 0 0,1-1 0 0 0,-1 1 0 0 0,-1-2 0 0 0,1 0-13 0 0,0 0 1 0 0,0 0-1 0 0,0 0 0 0 0,1 0 1 0 0,-1 0-1 0 0,1 0 0 0 0,-1 0 0 0 0,1-4 1 0 0,0 5-5 0 0,-1-54 95 0 0,1 55-97 0 0,-1 0 11 0 0,1 1 0 0 0,-1-1 0 0 0,0 1-1 0 0,1-1 1 0 0,-1 1 0 0 0,1-1 0 0 0,-1 1 0 0 0,0 0 0 0 0,1-1 0 0 0,0 1 0 0 0,-1 0 0 0 0,1 0-1 0 0,-1-1 1 0 0,1 1 0 0 0,0 0 0 0 0,-1 0 0 0 0,1-1 0 0 0,0 1 0 0 0,0 0 0 0 0,0 1 0 0 0,-2 3-12 0 0,-14 35 13 0 0,-18 77 0 0 0,0 48 5 0 0,20-89 2 0 0,1 9-17 0 0,4-1-1 0 0,1 127 0 0 0,8-210 16 0 0,0 0 0 0 0,0 0 0 0 0,0-1 0 0 0,1 1 0 0 0,-1 0 0 0 0,0 0-1 0 0,0 0 1 0 0,0 0 0 0 0,1-1 0 0 0,-1 1 0 0 0,0 0 0 0 0,1 0 0 0 0,-1-1 0 0 0,1 1 0 0 0,-1 0 0 0 0,1-1 0 0 0,-1 1-1 0 0,1 0 1 0 0,-1-1 0 0 0,1 1 0 0 0,0-1 0 0 0,-1 1 0 0 0,1-1 0 0 0,0 1 0 0 0,-1-1 0 0 0,1 1 0 0 0,0-1 0 0 0,0 0 0 0 0,0 1-1 0 0,-1-1 1 0 0,1 0 0 0 0,0 0 0 0 0,0 0 0 0 0,0 1 0 0 0,0-1 0 0 0,-1 0 0 0 0,3 0 0 0 0,-1-1 1 0 0,0 1 0 0 0,-1 0 0 0 0,1 0-1 0 0,0-1 1 0 0,0 1 0 0 0,0-1 0 0 0,0 1 0 0 0,-1-1 0 0 0,1 0 0 0 0,0 1 0 0 0,0-1 0 0 0,-1 0 0 0 0,1 0 0 0 0,-1-1 0 0 0,1 1 0 0 0,-1 0-1 0 0,2-2 1 0 0,13-20 100 0 0,-2-1-1 0 0,-1 0 1 0 0,-1 0-1 0 0,10-30 1 0 0,-4 10-61 0 0,17-38-8 0 0,25-57-14 0 0,-38 93-8 0 0,42-79 18 0 0,-64 125-26 0 0,0 0-1 0 0,0 0 1 0 0,0 0-1 0 0,0 0 1 0 0,0 0-1 0 0,0 0 1 0 0,0 0-1 0 0,0 0 0 0 0,0 1 1 0 0,0-1-1 0 0,0 0 1 0 0,0 0-1 0 0,0 0 1 0 0,0 0-1 0 0,0 0 1 0 0,0 0-1 0 0,0 0 1 0 0,0 0-1 0 0,0 0 0 0 0,0 0 1 0 0,0 0-1 0 0,0 1 1 0 0,0-1-1 0 0,0 0 1 0 0,0 0-1 0 0,0 0 1 0 0,0 0-1 0 0,0 0 1 0 0,1 0-1 0 0,-1 0 1 0 0,0 0-1 0 0,0 0 0 0 0,0 0 1 0 0,0 0-1 0 0,0 0 1 0 0,0 0-1 0 0,0 0 1 0 0,0 0-1 0 0,0 0 1 0 0,0 0-1 0 0,0 0 1 0 0,0 0-1 0 0,1 0 0 0 0,-1 0 1 0 0,0 0-1 0 0,0 0 1 0 0,0 0-1 0 0,0 0 1 0 0,0 0-1 0 0,0 0 1 0 0,0 0-1 0 0,0 0 1 0 0,0 0-1 0 0,0 0 1 0 0,1 0-1 0 0,-1 0 0 0 0,0 0 1 0 0,0 0-1 0 0,0 0 1 0 0,0 0-1 0 0,0 0 1 0 0,0 0-1 0 0,0 0 1 0 0,2 15-81 0 0,-2 26-82 0 0,0-35 151 0 0,-4 78 36 0 0,-29 154 0 0 0,22-175-19 0 0,-17 94 25 0 0,-20 133 0 0 0,37-195 13 0 0,1 104 1 0 0,9-198-47 0 0,1 1 1 0 0,0 0 0 0 0,0 0-1 0 0,0 0 1 0 0,0 0 0 0 0,1 0 0 0 0,-1 0-1 0 0,0 0 1 0 0,1-1 0 0 0,0 1-1 0 0,-1 0 1 0 0,1 0 0 0 0,0-1 0 0 0,0 1-1 0 0,0 0 1 0 0,0-1 0 0 0,0 1-1 0 0,2 2 1 0 0,-1-3-4 0 0,0 0 1 0 0,1 0-1 0 0,-1 0 0 0 0,1 0 1 0 0,-1 0-1 0 0,1-1 0 0 0,0 1 1 0 0,-1-1-1 0 0,1 1 0 0 0,0-1 1 0 0,-1 0-1 0 0,6 0 0 0 0,0-1 1 0 0,0 0 1 0 0,-1-1-1 0 0,1 1 0 0 0,-1-2 0 0 0,1 1 1 0 0,-1-1-1 0 0,0 0 0 0 0,0 0 0 0 0,0-1 1 0 0,0 0-1 0 0,-1 0 0 0 0,0 0 0 0 0,10-10 1 0 0,4-4 20 0 0,-1-1 0 0 0,29-37 0 0 0,-23 22-3 0 0,-2-1 1 0 0,-1-2 0 0 0,-2 0-1 0 0,-1-1 1 0 0,-2 0 0 0 0,-2-2-1 0 0,16-64 1 0 0,-27 86 17 0 0,-1 0-1 0 0,0-1 1 0 0,-1-35 0 0 0,-5 56 158 0 0,-37 51-157 0 0,1 1-1 0 0,3 2 1 0 0,-33 71 0 0 0,-74 190 23 0 0,116-254-37 0 0,19-43 1 0 0,-75 183 18 0 0,79-188-158 0 0,5-12-215 0 0,13-22 142 0 0,180-330 377 0 0,-118 206-280 0 0,-70 132 91 0 0,3-7-2 0 0,1 0 0 0 0,10-32 0 0 0,-24 80-243 0 0,-10 5 246 0 0,-2 0 0 0 0,-22 34-1 0 0,6-11 30 0 0,-174 366 99 0 0,204-419-126 0 0,0 0-1 0 0,0 1 0 0 0,0-1 1 0 0,0 0-1 0 0,1 1 0 0 0,0-1 1 0 0,-1 11-1 0 0,2-16 1 0 0,0 1 0 0 0,0-1 0 0 0,0 0 0 0 0,0 1-1 0 0,0-1 1 0 0,0 1 0 0 0,0-1 0 0 0,0 0 0 0 0,0 1 0 0 0,0-1 0 0 0,0 0 0 0 0,0 1 0 0 0,0-1 0 0 0,0 0 0 0 0,0 1 0 0 0,1-1 0 0 0,-1 0 0 0 0,0 0-1 0 0,0 1 1 0 0,0-1 0 0 0,1 0 0 0 0,-1 1 0 0 0,0-1 0 0 0,0 0 0 0 0,1 0 0 0 0,-1 1 0 0 0,0-1 0 0 0,0 0 0 0 0,1 0 0 0 0,-1 0 0 0 0,0 0-1 0 0,1 1 1 0 0,-1-1 0 0 0,0 0 0 0 0,1 0 0 0 0,-1 0 0 0 0,1 0 0 0 0,16-3-134 0 0,-15 2 129 0 0,15-5-4 0 0,0 0 0 0 0,0-2-1 0 0,30-18 1 0 0,48-39 70 0 0,-75 51-56 0 0,341-275 133 0 0,-82 63-238 0 0,-253 207 92 0 0,-26 19 7 0 0,0 0-1 0 0,0 0 1 0 0,0 0-1 0 0,0 0 1 0 0,0 0-1 0 0,0 1 0 0 0,0-1 1 0 0,1 0-1 0 0,-1 0 1 0 0,0 0-1 0 0,0 0 0 0 0,0 0 1 0 0,0 0-1 0 0,0 0 1 0 0,0 0-1 0 0,0 0 1 0 0,0 0-1 0 0,0 0 0 0 0,0 0 1 0 0,0 0-1 0 0,0 0 1 0 0,0 0-1 0 0,0 0 1 0 0,0 0-1 0 0,1 0 0 0 0,-1 0 1 0 0,0 0-1 0 0,0 0 1 0 0,0 0-1 0 0,0 0 1 0 0,-9 9-57 0 0,-264 216 191 0 0,-130 144-20 0 0,398-364-113 0 0,1-2-2 0 0,1 0 0 0 0,0 0 1 0 0,0 1-1 0 0,0-1 1 0 0,0 1-1 0 0,0 0 1 0 0,1-1-1 0 0,-1 1 1 0 0,1 0-1 0 0,-2 7 0 0 0,3-11 0 0 0,1 0 0 0 0,0 0 0 0 0,0 1 0 0 0,0-1 0 0 0,0 0 0 0 0,0 0 0 0 0,0 0 1 0 0,0 1-1 0 0,0-1 0 0 0,0 0 0 0 0,0 0 0 0 0,0 0 0 0 0,0 1 0 0 0,-1-1 0 0 0,1 0 0 0 0,0 0 0 0 0,1 0 0 0 0,-1 1 0 0 0,0-1 0 0 0,0 0 0 0 0,0 0 0 0 0,0 1 0 0 0,0-1 0 0 0,0 0 0 0 0,0 0 0 0 0,0 0 0 0 0,0 0 0 0 0,0 1 0 0 0,0-1 0 0 0,1 0 0 0 0,-1 0 0 0 0,0 0 0 0 0,0 0 0 0 0,0 1 0 0 0,0-1 0 0 0,0 0 0 0 0,1 0 0 0 0,-1 0 0 0 0,0 0 0 0 0,0 0 0 0 0,0 0 0 0 0,1 1 0 0 0,-1-1 0 0 0,0 0 0 0 0,0 0 0 0 0,0 0 0 0 0,1 0 0 0 0,-1 0 0 0 0,16-4-276 0 0,21-11 209 0 0,63-36 0 0 0,40-35 171 0 0,-101 61-92 0 0,86-55 25 0 0,317-181-93 0 0,-407 245 45 0 0,-28 14-52 0 0,-5 4-5 0 0,-9 9-85 0 0,-11 7 120 0 0,-1-1 0 0 0,-38 28 0 0 0,44-35 54 0 0,-167 124 123 0 0,-271 214-57 0 0,339-250-93 0 0,84-68-2 0 0,23-22 24 0 0,6-4-53 0 0,6-5-178 0 0,46-24 72 0 0,62-37 0 0 0,-58 29 180 0 0,706-423 83 0 0,-448 263-96 0 0,-288 178-45 0 0,-22 14-1 0 0,-5 2-5 0 0,-9 10-60 0 0,-40 30 206 0 0,-62 41-1 0 0,57-44-102 0 0,-476 315 353 0 0,364-247-384 0 0,19 0 17 0 0,184-123-373 0 0,660-360 387 0 0,-167 85 74 0 0,-491 272-103 0 0,65-25-1 0 0,-102 44 17 0 0,0 0 1 0 0,0 1-1 0 0,0-1 0 0 0,-1 1 1 0 0,1 0-1 0 0,0 0 1 0 0,0-1-1 0 0,3 2 0 0 0,-4-1 1 0 0,-1 0-1 0 0,0 0 1 0 0,0 0-1 0 0,0 0 1 0 0,0 0-1 0 0,1 0 1 0 0,-1 0-1 0 0,0 0 1 0 0,0 0-1 0 0,0 0 1 0 0,0 0-1 0 0,0 1 1 0 0,0-1-1 0 0,0 0 1 0 0,1 0-1 0 0,-1 0 1 0 0,0 0-1 0 0,0 0 1 0 0,0 0-1 0 0,0 1 1 0 0,0-1-1 0 0,0 0 1 0 0,0 0-1 0 0,0 0 1 0 0,0 0-1 0 0,0 0 1 0 0,0 1-1 0 0,0-1 1 0 0,0 0-1 0 0,0 0 1 0 0,0 0 0 0 0,0 0-1 0 0,0 1 1 0 0,0-1-1 0 0,0 0 1 0 0,0 0-1 0 0,-7 12-139 0 0,-12 9 84 0 0,-2-2-1 0 0,0 0 1 0 0,-2-2 0 0 0,-24 16-1 0 0,44-31 62 0 0,-386 249 264 0 0,-12-18 92 0 0,226-132-275 0 0,175-101-85 0 0,-148 91 18 0 0,125-71-39 0 0,21-18-37 0 0,8-2-41 0 0,11-3 52 0 0,0-1-1 0 0,0-1 1 0 0,0-1 0 0 0,26-12 0 0 0,-22 9 56 0 0,771-349 332 0 0,-649 287-328 0 0,440-202-2 0 0,-533 254-19 0 0,-37 17-28 0 0,-13 2 34 0 0,1 0 0 0 0,-1 0 1 0 0,0 0-1 0 0,0 0 1 0 0,0 0-1 0 0,0 0 1 0 0,1 1-1 0 0,-1-1 1 0 0,0 0-1 0 0,0 0 1 0 0,0 0-1 0 0,0 0 1 0 0,1 0-1 0 0,-1 0 1 0 0,0 0-1 0 0,0 1 0 0 0,0-1 1 0 0,0 0-1 0 0,0 0 1 0 0,1 0-1 0 0,-1 0 1 0 0,0 1-1 0 0,0-1 1 0 0,0 0-1 0 0,0 0 1 0 0,0 0-1 0 0,0 1 1 0 0,0-1-1 0 0,0 0 0 0 0,0 0 1 0 0,0 1-1 0 0,0 0-4 0 0,-1 0 0 0 0,1 1 0 0 0,-1-1 0 0 0,1 0-1 0 0,-1 1 1 0 0,0-1 0 0 0,1 0 0 0 0,-1 0 0 0 0,0 0-1 0 0,0 0 1 0 0,0 0 0 0 0,0 1 0 0 0,0-2 0 0 0,-1 2 0 0 0,-26 20 16 0 0,-2-3 1 0 0,-48 26 0 0 0,42-25 26 0 0,-614 312 713 0 0,-38 21-313 0 0,668-342-435 0 0,-2 1-4 0 0,-20 17-1 0 0,40-28-52 0 0,13-5-28 0 0,314-139 6 0 0,-117 49 151 0 0,-189 86-72 0 0,1303-550 212 0 0,-1028 452-166 0 0,-218 85-61 0 0,-74 20 4 0 0,1 0-1 0 0,-1 1 1 0 0,1 0 0 0 0,-1-1-1 0 0,1 1 1 0 0,-1 0 0 0 0,1 0-1 0 0,3 1 1 0 0,-6-1 6 0 0,0 0 0 0 0,1 0 0 0 0,-1 0 0 0 0,0 0 0 0 0,0 0 0 0 0,0 0 0 0 0,0 0 0 0 0,1 1 1 0 0,-1-1-1 0 0,0 0 0 0 0,0 0 0 0 0,0 0 0 0 0,0 0 0 0 0,0 0 0 0 0,0 0 0 0 0,0 1 0 0 0,1-1 0 0 0,-1 0 0 0 0,0 0 0 0 0,0 0 1 0 0,0 0-1 0 0,0 0 0 0 0,0 1 0 0 0,0-1 0 0 0,0 0 0 0 0,0 0 0 0 0,0 0 0 0 0,0 0 0 0 0,0 1 0 0 0,0-1 0 0 0,0 0 0 0 0,0 0 0 0 0,0 0 1 0 0,0 0-1 0 0,0 1 0 0 0,0-1 0 0 0,0 0 0 0 0,0 0 0 0 0,0 0 0 0 0,0 1 0 0 0,-12 11-188 0 0,-23 13 92 0 0,-77 40 0 0 0,78-47 129 0 0,-439 237 190 0 0,-433 246-123 0 0,839-456-219 0 0,463-251 137 0 0,20 15 132 0 0,375-140-11 0 0,-768 322-131 0 0,-17 6-10 0 0,-1 1 0 0 0,1 0-1 0 0,0 0 1 0 0,0 0 0 0 0,-1 1-1 0 0,1-1 1 0 0,0 2 0 0 0,0-1 0 0 0,0 0-1 0 0,10 2 1 0 0,-14 1-43 0 0,-8 4-19 0 0,-30 22 67 0 0,-2-1-1 0 0,0-2 1 0 0,-57 26 0 0 0,49-26 7 0 0,-353 183 97 0 0,-56 30-120 0 0,426-222 10 0 0,2-1 6 0 0,-37 25 0 0 0,60-36-19 0 0,9-4-10 0 0,17-8-24 0 0,513-233 240 0 0,-465 211-161 0 0,768-315 119 0 0,-829 341-161 0 0,0 0 0 0 0,1 1 0 0 0,-1 1 0 0 0,1-1 0 0 0,0 2 0 0 0,12-2 0 0 0,-18 4-23 0 0,-6 4-24 0 0,-1 0 48 0 0,1 0-1 0 0,-1 0 0 0 0,-1-1 1 0 0,1 1-1 0 0,-1-1 0 0 0,1 0 1 0 0,-1 0-1 0 0,-5 3 0 0 0,-42 30 69 0 0,-455 249 209 0 0,55-34-358 0 0,408-223 66 0 0,39-24 12 0 0,9-5-9 0 0,18-5-32 0 0,200-87 72 0 0,-104 40 43 0 0,661-273 107 0 0,-774 322-169 0 0,20-8-134 0 0,33-8 1 0 0,-59 18 125 0 0,1 1 1 0 0,-1 0-1 0 0,0 0 1 0 0,1 0-1 0 0,-1-1 1 0 0,1 1-1 0 0,-1 0 1 0 0,1 0-1 0 0,-1 0 1 0 0,1 0-1 0 0,-1 0 1 0 0,0 0-1 0 0,1 0 1 0 0,-1 0-1 0 0,1 0 1 0 0,-1 0-1 0 0,1 0 1 0 0,-1 0-1 0 0,1 0 1 0 0,-1 1-1 0 0,0-1 1 0 0,1 0-1 0 0,-1 0 1 0 0,1 0-1 0 0,-1 1 1 0 0,1-1-1 0 0,-5 10-151 0 0,-19 11 110 0 0,-23 12 119 0 0,-54 30-1 0 0,40-26-83 0 0,-442 266 300 0 0,465-281-289 0 0,-37 26-22 0 0,67-41 10 0 0,9-4-13 0 0,21-9-44 0 0,183-91 85 0 0,-94 42 66 0 0,54-26-7 0 0,102-47-93 0 0,5 18-263 0 0,-258 105 187 0 0,-11 3 36 0 0,-1 1 1 0 0,1-1-1 0 0,0 1 1 0 0,0 0-1 0 0,0 1 1 0 0,0-1 0 0 0,8 0-1 0 0,-17 7-173 0 0,-27 18 148 0 0,-59 33 1 0 0,-50 17 141 0 0,80-43-48 0 0,-469 243 57 0 0,-329 173 21 0 0,797-414-77 0 0,-7 5 11 0 0,-96 37 1 0 0,139-67 17 0 0,26-8-30 0 0,0 0-1 0 0,0 0 0 0 0,0 0 1 0 0,0 0-1 0 0,0-1 0 0 0,0 1 1 0 0,0 0-1 0 0,0 0 1 0 0,0 0-1 0 0,0 0 0 0 0,0 0 1 0 0,0 0-1 0 0,0 0 0 0 0,0 0 1 0 0,0 0-1 0 0,0-1 1 0 0,0 1-1 0 0,0 0 0 0 0,0 0 1 0 0,0 0-1 0 0,0 0 1 0 0,0 0-1 0 0,0 0 0 0 0,0 0 1 0 0,0 0-1 0 0,0-1 0 0 0,0 1 1 0 0,0 0-1 0 0,0 0 1 0 0,0 0-1 0 0,0 0 0 0 0,0 0 1 0 0,0 0-1 0 0,0 0 0 0 0,0 0 1 0 0,-1 0-1 0 0,1 0 1 0 0,0 0-1 0 0,0 0 0 0 0,0 0 1 0 0,0-1-1 0 0,0 1 1 0 0,0 0-1 0 0,0 0 0 0 0,0 0 1 0 0,0 0-1 0 0,-1 0 0 0 0,1 0 1 0 0,0 0-1 0 0,0 0 1 0 0,0 0-1 0 0,0 0 0 0 0,0 0 1 0 0,0 0-1 0 0,0 0 1 0 0,2-5 0 0 0,1 1 0 0 0,-1-1 1 0 0,2 1-1 0 0,-1-1 0 0 0,0 1 1 0 0,1 0-1 0 0,0 0 0 0 0,-1 0 1 0 0,2 1-1 0 0,-1-1 0 0 0,0 1 1 0 0,7-3-1 0 0,5-6 5 0 0,165-120-36 0 0,240-131-1 0 0,-436 281-319 0 0,-156 105 365 0 0,98-74-8 0 0,52-35 9 0 0,-257 161 363 0 0,259-166-353 0 0,18-9-26 0 0,1 0 0 0 0,0 0 0 0 0,0 0 0 0 0,0 0 0 0 0,0 0 0 0 0,-1 0 0 0 0,1 0 0 0 0,0 0 0 0 0,0 0 0 0 0,0 0 1 0 0,0 0-1 0 0,0 0 0 0 0,-1 0 0 0 0,1-1 0 0 0,0 1 0 0 0,0 0 0 0 0,0 0 0 0 0,0 0 0 0 0,0 0 0 0 0,0 0 0 0 0,-1 0 0 0 0,1-1 0 0 0,0 1 0 0 0,0 0 0 0 0,0 0 0 0 0,0 0 1 0 0,0 0-1 0 0,0-1 0 0 0,0 1 0 0 0,0 0 0 0 0,0 0 0 0 0,0 0 0 0 0,0 0 0 0 0,0-1 0 0 0,0 1 0 0 0,0 0 0 0 0,0 0 0 0 0,0 0 0 0 0,0 0 0 0 0,0-1 0 0 0,0 1 0 0 0,0 0 0 0 0,0 0 1 0 0,0 0-1 0 0,1-11-25 0 0,-1 11 24 0 0,1-6-9 0 0,1 0 1 0 0,-1 1-1 0 0,1-1 0 0 0,0 1 1 0 0,0-1-1 0 0,1 1 0 0 0,0 0 1 0 0,3-6-1 0 0,33-39-29 0 0,-19 26 53 0 0,11-11-9 0 0,-18 21-142 0 0,-1 0 1 0 0,17-27-1 0 0,-25 32-8 0 0,-8 6 15 0 0,-16 10-1 0 0,-164 101 113 0 0,97-54 0 0 0,-155 80 493 0 0,132-75-104 0 0,109-59-388 0 0,-16 19-213 0 0,-40 32 293 0 0,-2-3 0 0 0,-72 45 0 0 0,125-89-54 0 0,-39 25 73 0 0,45-27-125 0 0,6-2 0 0 0,11-6-34 0 0,202-114 76 0 0,-136 73 35 0 0,4-2-30 0 0,32-20 13 0 0,175-72-1 0 0,-294 141-22 0 0,0 1 0 0 0,0-1 0 0 0,0 0 0 0 0,0 0 0 0 0,0 0 0 0 0,0 0 0 0 0,0 0 0 0 0,0 0 1 0 0,0 0-1 0 0,0 0 0 0 0,0 1 0 0 0,0-1 0 0 0,0 0 0 0 0,0 0 0 0 0,0 0 0 0 0,0 0 0 0 0,0 0 0 0 0,0 0 0 0 0,0 0 0 0 0,0 1 0 0 0,0-1 1 0 0,0 0-1 0 0,0 0 0 0 0,0 0 0 0 0,0 0 0 0 0,0 0 0 0 0,0 0 0 0 0,0 0 0 0 0,1 0 0 0 0,-1 1 0 0 0,0-1 0 0 0,0 0 0 0 0,0 0 0 0 0,0 0 0 0 0,0 0 1 0 0,0 0-1 0 0,0 0 0 0 0,0 0 0 0 0,0 0 0 0 0,0 0 0 0 0,1 0 0 0 0,-1 0 0 0 0,0 0 0 0 0,0 0 0 0 0,0 0 0 0 0,0 0 0 0 0,0 0 0 0 0,0 0 1 0 0,0 0-1 0 0,1 0 0 0 0,-1 0 0 0 0,0 0 0 0 0,0 0 0 0 0,0 0 0 0 0,0 0 0 0 0,0 0 0 0 0,0 0 0 0 0,0 2-35 0 0,-2 2 44 0 0,0-1 0 0 0,0 1 0 0 0,0 0 0 0 0,-1-1 0 0 0,1 1 1 0 0,-1-1-1 0 0,0 0 0 0 0,0 0 0 0 0,0 0 0 0 0,-3 2 0 0 0,-41 27 93 0 0,24-18-76 0 0,-304 181 527 0 0,273-169-523 0 0,-1-1-1 0 0,-1-4 0 0 0,-1-2 0 0 0,-79 16 1 0 0,95-29-22 0 0,1-2 1 0 0,-72-2-1 0 0,100-3-13 0 0,-1 0-1 0 0,1-1 0 0 0,-1 0 0 0 0,1-1 0 0 0,0-1 1 0 0,0 0-1 0 0,1 0 0 0 0,-1-1 0 0 0,1-1 1 0 0,0 0-1 0 0,0-1 0 0 0,1 1 0 0 0,0-2 0 0 0,-15-13 1 0 0,13 9-57 0 0,0 0 1 0 0,0-1-1 0 0,2 0 0 0 0,-1-1 1 0 0,2-1-1 0 0,0 0 1 0 0,0 0-1 0 0,2 0 1 0 0,0-1-1 0 0,-6-17 1 0 0,13 32 58 0 0,0 0 0 0 0,0 0 1 0 0,0 1-1 0 0,-1-1 0 0 0,1 0 1 0 0,0 0-1 0 0,-1 1 0 0 0,1-1 0 0 0,-1 0 1 0 0,1 1-1 0 0,-1-1 0 0 0,1 0 1 0 0,-1 1-1 0 0,1-1 0 0 0,-1 1 1 0 0,1-1-1 0 0,-1 1 0 0 0,-1-2 1 0 0,2 2-3 0 0,-1 0 1 0 0,0 0-1 0 0,1 0 1 0 0,-1 0-1 0 0,1 0 1 0 0,-1 0 0 0 0,1 0-1 0 0,-1 0 1 0 0,0 0-1 0 0,1 0 1 0 0,-1 1-1 0 0,1-1 1 0 0,-1 0-1 0 0,1 0 1 0 0,-1 0 0 0 0,1 1-1 0 0,-1-1 1 0 0,1 0-1 0 0,-2 1 1 0 0,-2 3-18 0 0,1-1 1 0 0,-1 1 0 0 0,1 0-1 0 0,-6 7 1 0 0,7-8 60 0 0,-33 41 75 0 0,-2-1-1 0 0,-64 57 1 0 0,89-92 63 0 0,12-8-163 0 0,0 0-1 0 0,-1 0 0 0 0,1 0 1 0 0,0 0-1 0 0,0 0 0 0 0,0 0 1 0 0,0 0-1 0 0,-1 0 0 0 0,1 0 1 0 0,0 0-1 0 0,0 0 0 0 0,0 0 0 0 0,0 0 1 0 0,-1 0-1 0 0,1 0 0 0 0,0 0 1 0 0,0-1-1 0 0,0 1 0 0 0,-1 0 1 0 0,1 0-1 0 0,0 0 0 0 0,0 0 1 0 0,0 0-1 0 0,0 0 0 0 0,0 0 1 0 0,-1-1-1 0 0,1 1 0 0 0,0 0 1 0 0,0 0-1 0 0,0 0 0 0 0,0 0 1 0 0,0 0-1 0 0,0-1 0 0 0,0 1 1 0 0,0 0-1 0 0,0-25 245 0 0,0 22-300 0 0,3-9 61 0 0,0 0 0 0 0,0 1 0 0 0,1-1 1 0 0,0 1-1 0 0,1 0 0 0 0,1 0 0 0 0,0 0 1 0 0,10-14-1 0 0,1-3-17 0 0,100-196-26 0 0,-105 192 29 0 0,-11 31-3 0 0,-1 0 1 0 0,0 0-1 0 0,1 0 1 0 0,-1 1-1 0 0,0-1 0 0 0,0 0 1 0 0,0 0-1 0 0,0 0 1 0 0,0 0-1 0 0,0 0 1 0 0,0 0-1 0 0,0 0 1 0 0,0 0-1 0 0,-1 0 1 0 0,1 0-1 0 0,0 0 1 0 0,0 1-1 0 0,-1-2 1 0 0,0 1-3 0 0,0 1 0 0 0,1 0 0 0 0,-1 0 1 0 0,0-1-1 0 0,1 1 0 0 0,-1 0 0 0 0,0 0 0 0 0,1 0 1 0 0,-1 0-1 0 0,0 0 0 0 0,0 0 0 0 0,1 0 1 0 0,-1 0-1 0 0,0 0 0 0 0,1 1 0 0 0,-1-1 1 0 0,0 0-1 0 0,1 0 0 0 0,-1 1 0 0 0,0-1 1 0 0,1 0-1 0 0,-1 1 0 0 0,0-1 0 0 0,1 0 1 0 0,-1 1-1 0 0,1-1 0 0 0,-1 1 0 0 0,-43 28 26 0 0,-43 37 0 0 0,50-37-49 0 0,17-14 26 0 0,-219 176 148 0 0,203-164-93 0 0,36-31-54 0 0,-1 0 1 0 0,1 0-1 0 0,-1 0 1 0 0,1-1-1 0 0,1 1 0 0 0,-1 0 1 0 0,0 0-1 0 0,3-8 1 0 0,7-12 32 0 0,1 0 1 0 0,1 1 0 0 0,17-23-1 0 0,2-6-2 0 0,-5 6-15 0 0,-2 0 0 0 0,-2-2 1 0 0,23-74-1 0 0,-42 111-13 0 0,-1-1-1 0 0,0 0 1 0 0,-1 0-1 0 0,0-13 1 0 0,-1 24-2 0 0,0 0-1 0 0,0 1 1 0 0,0-1-1 0 0,0 1 1 0 0,0-1-1 0 0,0 1 1 0 0,-1-1-1 0 0,1 0 1 0 0,0 1 0 0 0,0-1-1 0 0,0 1 1 0 0,0-1-1 0 0,-1 1 1 0 0,1-1-1 0 0,0 1 1 0 0,-1-1-1 0 0,1 1 1 0 0,0-1 0 0 0,-1 1-1 0 0,1-1 1 0 0,-1 1-1 0 0,1 0 1 0 0,-1-1-1 0 0,1 1 1 0 0,-2-1-1 0 0,1 1-1 0 0,0-1 0 0 0,0 1 0 0 0,-1 0 0 0 0,1-1 0 0 0,0 1 0 0 0,-1 0-1 0 0,1 0 1 0 0,0 0 0 0 0,-1 0 0 0 0,1 1 0 0 0,-2-1 0 0 0,-4 2-8 0 0,0 0 1 0 0,0 0 0 0 0,-10 6-1 0 0,-10 8 16 0 0,1 0 1 0 0,1 2-1 0 0,-44 41 0 0 0,45-37-7 0 0,-194 188 231 0 0,218-210-232 0 0,0 0 0 0 0,0 0 0 0 0,0 0 0 0 0,0 0 0 0 0,0 0 0 0 0,0 0 0 0 0,0-1 1 0 0,0 1-1 0 0,0 0 0 0 0,0 0 0 0 0,0 0 0 0 0,0 0 0 0 0,0 0 0 0 0,0-1 0 0 0,0 1 0 0 0,0 0 0 0 0,0 0 0 0 0,0 0 1 0 0,0 0-1 0 0,0 0 0 0 0,0 0 0 0 0,0 0 0 0 0,0-1 0 0 0,-1 1 0 0 0,1 0 0 0 0,0 0 0 0 0,0 0 0 0 0,0 0 0 0 0,0 0 1 0 0,0 0-1 0 0,0 0 0 0 0,0 0 0 0 0,-1 0 0 0 0,1 0 0 0 0,0 0 0 0 0,0-1 0 0 0,0 1 0 0 0,0 0 0 0 0,0 0 0 0 0,-1 0 1 0 0,1 0-1 0 0,0 0 0 0 0,0 0 0 0 0,0 0 0 0 0,0 0 0 0 0,0 0 0 0 0,0 0 0 0 0,-1 0 0 0 0,1 1 0 0 0,0-1 1 0 0,0 0-1 0 0,0 0 0 0 0,0 0 0 0 0,0 0 0 0 0,0 0 0 0 0,-1 0 0 0 0,1 0 0 0 0,5-18 14 0 0,1 6 17 0 0,1 0 0 0 0,10-14 0 0 0,6-9 42 0 0,-1-3-33 0 0,48-91 41 0 0,-64 114-73 0 0,0 1 0 0 0,-1-1 0 0 0,-1 1 0 0 0,0-1 0 0 0,-1-1 0 0 0,-1 1 0 0 0,1-23 0 0 0,-2 26 11 0 0,-2-10 30 0 0,1 21-46 0 0,-1 0 1 0 0,1 1 0 0 0,0-1-1 0 0,-1 1 1 0 0,1-1 0 0 0,-1 0-1 0 0,1 1 1 0 0,0-1 0 0 0,-1 1-1 0 0,1-1 1 0 0,-1 1 0 0 0,0-1-1 0 0,1 1 1 0 0,-1-1 0 0 0,1 1-1 0 0,-1 0 1 0 0,0-1 0 0 0,1 1-1 0 0,-1 0 1 0 0,0 0 0 0 0,1-1-1 0 0,-1 1 1 0 0,0 0 0 0 0,1 0-1 0 0,-1 0 1 0 0,0 0 0 0 0,0 0-1 0 0,-1 0 1 0 0,-5 0 1 0 0,0 1 1 0 0,0 0-1 0 0,-1 0 0 0 0,1 1 1 0 0,0-1-1 0 0,0 2 0 0 0,0-1 1 0 0,1 1-1 0 0,-1 0 1 0 0,1 0-1 0 0,-1 1 0 0 0,1 0 1 0 0,-6 5-1 0 0,-12 10 0 0 0,-39 40 0 0 0,40-36 13 0 0,-59 66 10 0 0,39-41-17 0 0,42-47-41 0 0,1-2 25 0 0,0-1 1 0 0,1 0-1 0 0,0 0 1 0 0,-1 0-1 0 0,1 1 1 0 0,0-1-1 0 0,0 0 1 0 0,0 1-1 0 0,0-1 0 0 0,0 0 1 0 0,0 1-1 0 0,2-2 1 0 0,3-4-5 0 0,79-89 67 0 0,-29 36-27 0 0,86-103 49 0 0,-139 160-73 0 0,24-34-12 0 0,-26 34 25 0 0,1 0-1 0 0,-1 0 0 0 0,1 0 1 0 0,-1-1-1 0 0,0 1 0 0 0,-1-1 1 0 0,1 1-1 0 0,0 0 0 0 0,-1-1 1 0 0,0-3-1 0 0,0 6-4 0 0,-1 1-1 0 0,0 0 0 0 0,0 0 1 0 0,1 0-1 0 0,-1-1 1 0 0,0 1-1 0 0,0 0 0 0 0,1 0 1 0 0,-1 0-1 0 0,0 0 1 0 0,0 0-1 0 0,1 1 0 0 0,-1-1 1 0 0,-1 0-1 0 0,1 0-11 0 0,-4 2 0 0 0,-1-1 1 0 0,1 1 0 0 0,0 0-1 0 0,-1 0 1 0 0,1 1-1 0 0,0 0 1 0 0,1 0-1 0 0,-1 0 1 0 0,0 0-1 0 0,1 1 1 0 0,-7 6-1 0 0,-8 9 14 0 0,-19 26 1 0 0,15-17-9 0 0,13-16 1 0 0,2-3-7 0 0,-1 1-1 0 0,2 0 1 0 0,-8 12 0 0 0,14-18 21 0 0,1-3-56 0 0,4-4-173 0 0,101-77 157 0 0,-36 29 78 0 0,-17 10-14 0 0,88-72 71 0 0,-123 95-85 0 0,-17 18-1 0 0,0 1 0 0 0,0-1 1 0 0,0 0-1 0 0,0 0 0 0 0,0 0 0 0 0,0 0 0 0 0,0 0 0 0 0,0 0 0 0 0,0 0 0 0 0,0 0 1 0 0,0 0-1 0 0,0 0 0 0 0,0 0 0 0 0,0 0 0 0 0,0 0 0 0 0,0 0 0 0 0,0 0 0 0 0,0 0 0 0 0,0 0 1 0 0,0 0-1 0 0,0 1 0 0 0,0-1 0 0 0,0 0 0 0 0,0 0 0 0 0,0 0 0 0 0,0 0 0 0 0,0 0 1 0 0,0 0-1 0 0,0 0 0 0 0,0 0 0 0 0,0 0 0 0 0,0 0 0 0 0,0 0 0 0 0,1 0 0 0 0,-1 0 1 0 0,0 0-1 0 0,0 0 0 0 0,0 0 0 0 0,0 0 0 0 0,0 0 0 0 0,0 0 0 0 0,0 0 0 0 0,0 0 1 0 0,0 0-1 0 0,0 0 0 0 0,0 0 0 0 0,0 0 0 0 0,0 0 0 0 0,0 0 0 0 0,0 0 0 0 0,0 0 0 0 0,0 0 1 0 0,0 0-1 0 0,0 0 0 0 0,1 0 0 0 0,-1 2-22 0 0,-1 6 14 0 0,0 0 1 0 0,0-1-1 0 0,0 1 0 0 0,-1 0 0 0 0,0-1 0 0 0,-5 11 1 0 0,-24 46 13 0 0,16-34-8 0 0,-59 110 75 0 0,70-131-73 0 0,5-12-32 0 0,11-13 27 0 0,23-20 52 0 0,45-36-1 0 0,-6 7-55 0 0,-39 35-440 0 0,17-18-4089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7.937"/>
    </inkml:context>
    <inkml:brush xml:id="br0">
      <inkml:brushProperty name="width" value="0.05" units="cm"/>
      <inkml:brushProperty name="height" value="0.05" units="cm"/>
      <inkml:brushProperty name="color" value="#E71224"/>
    </inkml:brush>
  </inkml:definitions>
  <inkml:trace contextRef="#ctx0" brushRef="#br0">85 26 3954 0 0,'0'0'4386'0'0,"0"-5"-3722"0"0,0-1-1578 0 0,0-9 6677 0 0,0 27-5001 0 0,-34 509 1324 0 0,24-447-2124 0 0,2-10-833 0 0,-1 68 0 0 0,9-130 520 0 0,0 0-1 0 0,0-1 0 0 0,0 1 0 0 0,0 0 0 0 0,0-1 0 0 0,-1 1 0 0 0,1 0 0 0 0,0-1 0 0 0,-1 1 0 0 0,0-1 0 0 0,1 1 0 0 0,-1-1 0 0 0,0 1 0 0 0,0-1 1 0 0,0 1-1 0 0,0-1 0 0 0,0 0 0 0 0,0 0 0 0 0,0 1 0 0 0,0-1 0 0 0,0 0 0 0 0,-2 1 0 0 0,-4 2-4314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341"/>
    </inkml:context>
    <inkml:brush xml:id="br0">
      <inkml:brushProperty name="width" value="0.05" units="cm"/>
      <inkml:brushProperty name="height" value="0.05" units="cm"/>
      <inkml:brushProperty name="color" value="#E71224"/>
    </inkml:brush>
  </inkml:definitions>
  <inkml:trace contextRef="#ctx0" brushRef="#br0">11 55 7187 0 0,'0'0'7633'0'0,"-10"-4"-5213"0"0,13 4-2503 0 0,965-44 233 0 0,-871 38-180 0 0,-56 7-9529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950"/>
    </inkml:context>
    <inkml:brush xml:id="br0">
      <inkml:brushProperty name="width" value="0.05" units="cm"/>
      <inkml:brushProperty name="height" value="0.05" units="cm"/>
      <inkml:brushProperty name="color" value="#E71224"/>
    </inkml:brush>
  </inkml:definitions>
  <inkml:trace contextRef="#ctx0" brushRef="#br0">7 23 2625 0 0,'0'0'10063'0'0,"-4"0"-9764"0"0,2 0-321 0 0,4 0 55 0 0,748-18 2923 0 0,-656 15-2839 0 0,97 1-2089 0 0,-107 3-3838 0 0,-53-1 1267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480"/>
    </inkml:context>
    <inkml:brush xml:id="br0">
      <inkml:brushProperty name="width" value="0.05" units="cm"/>
      <inkml:brushProperty name="height" value="0.05" units="cm"/>
      <inkml:brushProperty name="color" value="#E71224"/>
    </inkml:brush>
  </inkml:definitions>
  <inkml:trace contextRef="#ctx0" brushRef="#br0">0 43 7523 0 0,'0'0'4584'0'0,"28"0"-3925"0"0,88-1-176 0 0,16-5 137 0 0,2 2 0 0 0,201-12 4 0 0,-134 3-538 0 0,-121 13-669 0 0,-2-1-7302 0 0,-55 0 1426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977"/>
    </inkml:context>
    <inkml:brush xml:id="br0">
      <inkml:brushProperty name="width" value="0.05" units="cm"/>
      <inkml:brushProperty name="height" value="0.05" units="cm"/>
      <inkml:brushProperty name="color" value="#E71224"/>
    </inkml:brush>
  </inkml:definitions>
  <inkml:trace contextRef="#ctx0" brushRef="#br0">0 52 9973 0 0,'0'0'2177'0'0,"35"0"-1721"0"0,113-2-216 0 0,88-15 1257 0 0,-141 7-1076 0 0,-9 1-416 0 0,81-5 389 0 0,-54 15-3994 0 0,-98 1 1369 0 0,-7 3-490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1.523"/>
    </inkml:context>
    <inkml:brush xml:id="br0">
      <inkml:brushProperty name="width" value="0.05" units="cm"/>
      <inkml:brushProperty name="height" value="0.05" units="cm"/>
      <inkml:brushProperty name="color" value="#E71224"/>
    </inkml:brush>
  </inkml:definitions>
  <inkml:trace contextRef="#ctx0" brushRef="#br0">3 0 2785 0 0,'0'0'8906'0'0,"-3"0"-8277"0"0,176 2 2682 0 0,346-2-2991 0 0,-518 0-571 0 0,0 0 0 0 0,1 0 0 0 0,-1 0 0 0 0,0 0 0 0 0,0 1 0 0 0,0-1 0 0 0,0 0 0 0 0,1 1 0 0 0,-1-1 0 0 0,0 1 0 0 0,0-1 0 0 0,0 1 0 0 0,0-1 0 0 0,0 1 0 0 0,0 0 0 0 0,0-1 0 0 0,0 1 0 0 0,-1 0 0 0 0,3 1 0 0 0,-1 1-670 0 0,5 2-2606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9.449"/>
    </inkml:context>
    <inkml:brush xml:id="br0">
      <inkml:brushProperty name="width" value="0.35" units="cm"/>
      <inkml:brushProperty name="height" value="0.35" units="cm"/>
    </inkml:brush>
  </inkml:definitions>
  <inkml:trace contextRef="#ctx0" brushRef="#br0">44 1499 5234 0 0,'0'0'2116'0'0,"0"-6"-2047"0"0,1-105 1252 0 0,-3-143 557 0 0,1 234-1487 0 0,-2-1 0 0 0,0 1 0 0 0,-1 0 0 0 0,-1 0-1 0 0,-16-35 993 0 0,19 62-1237 0 0,1 16-405 0 0,1-22 346 0 0,-1 22-50 0 0,0-16-15 0 0,1 0 0 0 0,0 0 0 0 0,0 0 0 0 0,1 0-1 0 0,1 10 1 0 0,-1-16-20 0 0,-1 0 0 0 0,0 0-1 0 0,0-1 1 0 0,1 1 0 0 0,-1 0 0 0 0,1 0 0 0 0,-1-1-1 0 0,1 1 1 0 0,-1 0 0 0 0,1-1 0 0 0,-1 1-1 0 0,1 0 1 0 0,0-1 0 0 0,-1 1 0 0 0,1-1 0 0 0,0 1-1 0 0,-1-1 1 0 0,1 0 0 0 0,0 1 0 0 0,0-1-1 0 0,-1 0 1 0 0,1 1 0 0 0,0-1 0 0 0,0 0 0 0 0,0 0-1 0 0,0 0 1 0 0,-1 1 0 0 0,1-1 0 0 0,0 0-1 0 0,0 0 1 0 0,0 0 0 0 0,0-1 0 0 0,-1 1 0 0 0,1 0-1 0 0,0 0 1 0 0,0 0 0 0 0,0-1 0 0 0,-1 1-1 0 0,1 0 1 0 0,0-1 0 0 0,0 1 0 0 0,-1 0 0 0 0,1-1-1 0 0,0 1 1 0 0,0-1 0 0 0,-1 0 0 0 0,1 1-1 0 0,-1-1 1 0 0,1 1 0 0 0,-1-1 0 0 0,1 0 0 0 0,-1 1-1 0 0,1-2 1 0 0,5-7 91 0 0,-1-1 0 0 0,-1 0 0 0 0,0 0 0 0 0,5-20 0 0 0,7-44 203 0 0,-7-7-129 0 0,-4 0 0 0 0,-4-86 1 0 0,-2 77 109 0 0,1 83-153 0 0,0-1 1 0 0,-1 1-1 0 0,0 0 1 0 0,0 0-1 0 0,0 0 1 0 0,-1 0-1 0 0,0 0 1 0 0,-4-7-1 0 0,3 69 79 0 0,3-48-193 0 0,1-1 0 0 0,0 1 0 0 0,0-1 0 0 0,0 1 0 0 0,1-1 0 0 0,0 0 0 0 0,0 0 0 0 0,4 8 1 0 0,-3-33 273 0 0,-2-16-168 0 0,0-5-54 0 0,-2-50 20 0 0,0 79-73 0 0,-1 0 0 0 0,1 0 0 0 0,-2 0 0 0 0,0 0-1 0 0,-7-18 1 0 0,3 13 6 0 0,-16-33 36 0 0,21 46-49 0 0,0-1 1 0 0,-1 1-1 0 0,1 0 1 0 0,-1-1-1 0 0,1 1 1 0 0,-1 0-1 0 0,0 0 1 0 0,0 1-1 0 0,-1-1 1 0 0,-3-2-1 0 0,7 5-42 0 0,0 14-485 0 0,0-10 521 0 0,0 1 0 0 0,1-1 0 0 0,0 1 0 0 0,0-1 0 0 0,0 1 0 0 0,0-1 0 0 0,1 0 0 0 0,-1 0 0 0 0,1 1 0 0 0,0-1 0 0 0,1 0 0 0 0,-1-1 0 0 0,1 1 0 0 0,-1 0 0 0 0,5 3 1 0 0,0 2 18 0 0,-7-9-12 0 0,0 1 1 0 0,0-1-1 0 0,0 0 0 0 0,0 0 1 0 0,0 0-1 0 0,0 0 0 0 0,0 0 1 0 0,0 1-1 0 0,0-1 0 0 0,0 0 1 0 0,1 0-1 0 0,-1 0 0 0 0,0 0 1 0 0,0 0-1 0 0,0 0 0 0 0,0 0 1 0 0,0 0-1 0 0,0 1 1 0 0,0-1-1 0 0,1 0 0 0 0,-1 0 1 0 0,0 0-1 0 0,0 0 0 0 0,0 0 1 0 0,0 0-1 0 0,0 0 0 0 0,1 0 1 0 0,-1 0-1 0 0,0 0 0 0 0,0 0 1 0 0,0 0-1 0 0,0 0 0 0 0,1 0 1 0 0,-1 0-1 0 0,0 0 0 0 0,0 0 1 0 0,0 0-1 0 0,0 0 1 0 0,0 0-1 0 0,1 0 0 0 0,1-8 96 0 0,-1-16 44 0 0,-1 20-103 0 0,0-50 74 0 0,0-64 71 0 0,0 118-199 0 0,1 24-477 0 0,10 4 490 0 0,-10-27 1 0 0,-1 0 1 0 0,1 0-1 0 0,-1 0 0 0 0,1 0 1 0 0,0 0-1 0 0,0 1 0 0 0,-1-1 1 0 0,1-1-1 0 0,0 1 0 0 0,0 0 0 0 0,0 0 1 0 0,0 0-1 0 0,0 0 0 0 0,0-1 1 0 0,0 1-1 0 0,1 0 0 0 0,-1-1 1 0 0,0 1-1 0 0,0-1 0 0 0,2 1 1 0 0,-3-7 132 0 0,1-24 113 0 0,0 13-171 0 0,-1-1-1 0 0,-2-21 1 0 0,2 38-70 0 0,0 0 1 0 0,0 1 0 0 0,0-1 0 0 0,0 0 0 0 0,0 1-1 0 0,-1-1 1 0 0,1 0 0 0 0,0 1 0 0 0,0-1 0 0 0,-1 0-1 0 0,1 1 1 0 0,0-1 0 0 0,-1 1 0 0 0,1-1-1 0 0,0 0 1 0 0,-1 1 0 0 0,1-1 0 0 0,-1 1 0 0 0,1-1-1 0 0,-1 1 1 0 0,1 0 0 0 0,-1-1 0 0 0,0 1 0 0 0,1-1-1 0 0,-1 1 1 0 0,1 0 0 0 0,-1-1 0 0 0,0 1 0 0 0,1 0-1 0 0,-1 0 1 0 0,0 0 0 0 0,1 0 0 0 0,-1-1 0 0 0,-1 1-1 0 0,2 0-69 0 0,0 38-336 0 0,1-37 394 0 0,0-1 1 0 0,0 0-1 0 0,0 0 0 0 0,1 0 0 0 0,-1 0 1 0 0,0 0-1 0 0,0 0 0 0 0,1 0 0 0 0,-1-1 1 0 0,0 1-1 0 0,0 0 0 0 0,1-1 0 0 0,0-4 43 0 0,0 0-1 0 0,-1 0 1 0 0,0 0-1 0 0,0 0 0 0 0,-1 0 1 0 0,1-1-1 0 0,-1 1 1 0 0,-1-9-1 0 0,1 1 151 0 0,0 13-208 0 0,0 8-232 0 0,-13 669 68 0 0,6-248 193 0 0,7-401-4 0 0,2 0-1 0 0,0 0 0 0 0,12 50 0 0 0,-10-64-3 0 0,0 0 1 0 0,1 0 0 0 0,1-1-1 0 0,0 1 1 0 0,1-1 0 0 0,0-1-1 0 0,1 0 1 0 0,0 0-1 0 0,13 14 1 0 0,-18-23-10 0 0,1 1 1 0 0,0 0-1 0 0,0-1 0 0 0,0 0 0 0 0,0 0 0 0 0,7 3 0 0 0,-9-5 0 0 0,-1 0 0 0 0,1-1 1 0 0,-1 1-1 0 0,1 0 0 0 0,-1-1 0 0 0,1 0 0 0 0,0 1 0 0 0,-1-1 0 0 0,1 0 0 0 0,0 0 0 0 0,-1 0 0 0 0,1 0 0 0 0,0 0 0 0 0,-1 0 0 0 0,1 0 0 0 0,-1 0 0 0 0,1-1 0 0 0,0 1 0 0 0,-1-1 0 0 0,1 1 0 0 0,-1-1 0 0 0,1 0 0 0 0,2-1 0 0 0,-1-1 19 0 0,0-1 0 0 0,0 1 0 0 0,0 0 0 0 0,-1-1 0 0 0,1 0 0 0 0,-1 1 0 0 0,0-1 0 0 0,0 0 0 0 0,0 0 0 0 0,1-5 0 0 0,12-45 96 0 0,-9 9-7 0 0,-2 0 0 0 0,-3-51 0 0 0,-1 89 49 0 0,1 208-319 0 0,-3 249 326 0 0,-2-392-145 0 0,-3 0 0 0 0,-3 0-1 0 0,-2-1 1 0 0,-24 72-1 0 0,28-108-132 0 0,10-44-12 0 0,1-3 175 0 0,2 0 0 0 0,9-27 1 0 0,5-25-2 0 0,-10 0-16 0 0,-3 0 1 0 0,-5-107-1 0 0,-2 91-40 0 0,1 77 11 0 0,0 1 7 0 0,0 0 0 0 0,-4-25 0 0 0,-1 27 1 0 0,5 14-1 0 0,0 0-1 0 0,0-1 1 0 0,0 1-1 0 0,0 0 1 0 0,0 0-1 0 0,0 0 1 0 0,0 0-1 0 0,-1 0 1 0 0,1-1-1 0 0,0 1 1 0 0,0 0-1 0 0,0 0 1 0 0,0 0-1 0 0,0 0 1 0 0,-1 0-1 0 0,1 0 1 0 0,0 0-1 0 0,0-1 1 0 0,0 1-1 0 0,0 0 1 0 0,-1 0-1 0 0,1 0 1 0 0,0 0-1 0 0,0 0 1 0 0,0 0-1 0 0,-1 0 1 0 0,1 0-1 0 0,0 0 0 0 0,0 0 1 0 0,0 0-1 0 0,0 0 1 0 0,-1 0-1 0 0,1 0 1 0 0,-1 1-6 0 0,0 0 1 0 0,0 1-1 0 0,0-1 0 0 0,0 0 1 0 0,1 0-1 0 0,-1 0 1 0 0,0 1-1 0 0,1-1 0 0 0,-1 0 1 0 0,1 1-1 0 0,-1-1 0 0 0,1 1 1 0 0,0-1-1 0 0,-1 3 1 0 0,-9 67-65 0 0,0 101 0 0 0,7-103 76 0 0,-2 37 45 0 0,-20 298-48 0 0,11-189-145 0 0,14-217 119 0 0,0-1 1 0 0,0 1 0 0 0,1 0 0 0 0,-1 0 0 0 0,1 0 0 0 0,0-1 0 0 0,0 1 0 0 0,-1 0 0 0 0,2 0 0 0 0,0-2 0 0 0,4-9-1 0 0,6-18 57 0 0,-2 0 0 0 0,-2-1 0 0 0,0 0 0 0 0,-3 0 0 0 0,0-1 0 0 0,0-39 1 0 0,-4 34-32 0 0,-3-142 136 0 0,0 166-142 0 0,0 1 1 0 0,-3-15 0 0 0,4 25 2 0 0,0 0 0 0 0,0-1 0 0 0,0 1 0 0 0,-1 0-1 0 0,1 0 1 0 0,-1-1 0 0 0,1 1 0 0 0,-1 0 0 0 0,0 1 0 0 0,0-1 0 0 0,-1 0 0 0 0,-4-4 0 0 0,7 7-1 0 0,0 0 1 0 0,0 0 0 0 0,0-1-1 0 0,0 1 1 0 0,-1 0 0 0 0,1 0 0 0 0,0 0-1 0 0,0 0 1 0 0,0 0 0 0 0,0 0-1 0 0,-1 0 1 0 0,1 0 0 0 0,0 0-1 0 0,0 0 1 0 0,0 0 0 0 0,0-1 0 0 0,-1 1-1 0 0,1 0 1 0 0,0 0 0 0 0,0 0-1 0 0,0 0 1 0 0,0 0 0 0 0,-1 0-1 0 0,1 0 1 0 0,0 0 0 0 0,0 1 0 0 0,0-1-1 0 0,0 0 1 0 0,-1 0 0 0 0,1 0-1 0 0,0 0 1 0 0,0 0 0 0 0,0 0-1 0 0,0 0 1 0 0,-1 0 0 0 0,1 0 0 0 0,0 0-1 0 0,0 1 1 0 0,0-1 0 0 0,0 0-1 0 0,0 0 1 0 0,0 0 0 0 0,-1 0-1 0 0,1 0 1 0 0,0 1 0 0 0,0-1 0 0 0,0 0-1 0 0,0 0 1 0 0,0 0 0 0 0,0 0-1 0 0,0 1 1 0 0,0-1 0 0 0,0 0-1 0 0,0 0 1 0 0,0 0 0 0 0,0 1 0 0 0,-2 8-30 0 0,1 0-1 0 0,0 0 1 0 0,0 0 0 0 0,1 0 0 0 0,0 10 0 0 0,1 4-7 0 0,0 272 66 0 0,-3 361-108 0 0,-13-362 141 0 0,1-34 10 0 0,13-228-3 0 0,0 0-357 0 0,4-62-3 0 0,5-55 359 0 0,2-54 35 0 0,-10-201-5 0 0,-26 2-64 0 0,6 169-9 0 0,20 158-10 0 0,-1 4 52 0 0,1 17-82 0 0,0 8-58 0 0,8 264-147 0 0,-6-262 216 0 0,22 381 62 0 0,-24 240 157 0 0,-2-541-129 0 0,1-71-110 0 0,2-196 137 0 0,-1-122-112 0 0,-18 2-110 0 0,15 267 110 0 0,-7-29-1 0 0,9 66-271 0 0,1 40 80 0 0,17 418 199 0 0,23-60 78 0 0,-22 2-110 0 0,-18-209-22 0 0,8-356 115 0 0,1 17 100 0 0,1-486-98 0 0,-10 1280-662 0 0,-1-595 600 0 0,-2 1-1 0 0,-4-1 1 0 0,-3 0 0 0 0,-36 133-1 0 0,40-187 26 0 0,6-14-35 0 0,0 0 0 0 0,0 0 0 0 0,0 0 1 0 0,0 0-1 0 0,0 0 0 0 0,0 0 0 0 0,0 0 1 0 0,0 0-1 0 0,0 0 0 0 0,0 0 0 0 0,0 1 0 0 0,0-1 1 0 0,0 0-1 0 0,0 0 0 0 0,0 0 0 0 0,0 0 0 0 0,0 0 1 0 0,0 0-1 0 0,0 0 0 0 0,0 0 0 0 0,0 0 0 0 0,0 0 1 0 0,-1 0-1 0 0,1 0 0 0 0,0 0 0 0 0,0 0 1 0 0,0 0-1 0 0,0 0 0 0 0,0 0 0 0 0,0 0 0 0 0,0 0 1 0 0,0 0-1 0 0,0 0 0 0 0,0 0 0 0 0,0 0 0 0 0,0 0 1 0 0,-1 0-1 0 0,1 0 0 0 0,0 0 0 0 0,0 0 0 0 0,0 0 1 0 0,0 0-1 0 0,0 0 0 0 0,0 0 0 0 0,0 0 1 0 0,0 0-1 0 0,0 0 0 0 0,0 0 0 0 0,0 0 0 0 0,0 0 1 0 0,0 0-1 0 0,-1 0 0 0 0,1 0 0 0 0,0 0 0 0 0,0 0 1 0 0,0 0-1 0 0,0 0 0 0 0,0 0 0 0 0,0 0 1 0 0,0 0-1 0 0,0-1 0 0 0,0 1 0 0 0,0 0 0 0 0,0 0 1 0 0,-2-26-39 0 0,2 5 58 0 0,11-309 189 0 0,62-169-41 0 0,-69 486-200 0 0,-4 13 30 0 0,0 0-1 0 0,0 0 1 0 0,0 0-1 0 0,0 0 1 0 0,0 0-1 0 0,0 0 1 0 0,0-1-1 0 0,0 1 1 0 0,0 0-1 0 0,0 0 1 0 0,0 0 0 0 0,0 0-1 0 0,0 0 1 0 0,1 0-1 0 0,-1 0 1 0 0,0 0-1 0 0,0 0 1 0 0,0 0-1 0 0,0 0 1 0 0,0 0-1 0 0,0 0 1 0 0,0 0-1 0 0,0 0 1 0 0,0 0 0 0 0,0 0-1 0 0,0 0 1 0 0,0-1-1 0 0,1 1 1 0 0,-1 0-1 0 0,0 0 1 0 0,0 0-1 0 0,0 0 1 0 0,0 0-1 0 0,0 0 1 0 0,0 0-1 0 0,0 0 1 0 0,0 0-1 0 0,0 0 1 0 0,0 0 0 0 0,0 1-1 0 0,1-1 1 0 0,-1 0-1 0 0,0 0 1 0 0,0 0-1 0 0,0 0 1 0 0,0 0-1 0 0,0 0 1 0 0,0 0-1 0 0,0 0 1 0 0,0 0-1 0 0,0 0 1 0 0,0 0-1 0 0,0 0 1 0 0,0 0 0 0 0,0 0-1 0 0,0 0 1 0 0,1 3-38 0 0,0-1 0 0 0,-1 0 0 0 0,1 0 1 0 0,-1 0-1 0 0,1 1 0 0 0,-1-1 0 0 0,0 5 1 0 0,0 704-231 0 0,-3-643 297 0 0,-3 1 0 0 0,-3 0 0 0 0,-3-1 1 0 0,-3-1-1 0 0,-33 94 0 0 0,45-152-6 0 0,1-3-66 0 0,1-12-44 0 0,2-7 34 0 0,2-70 120 0 0,18-114 0 0 0,26-182-15 0 0,-21 146-36 0 0,-22 203-19 0 0,-2 24-56 0 0,0 6-45 0 0,0 12-202 0 0,0 208-241 0 0,-3-113 546 0 0,2 15 42 0 0,-7 212 74 0 0,-3-266-44 0 0,-3-1 1 0 0,-29 92-1 0 0,40-176-69 0 0,1-4-41 0 0,0-5 94 0 0,4-45-1 0 0,24-45 59 0 0,-10 44-80 0 0,32-160 74 0 0,22-265 0 0 0,-68 441-358 0 0,-4 95 168 0 0,-2 1 1 0 0,-14 71-1 0 0,-55 340 133 0 0,-19 84 158 0 0,75-468-337 0 0,21-95 128 0 0,1 1 0 0 0,2 0 0 0 0,1 0 0 0 0,15-30 0 0 0,6-13 66 0 0,41-111 25 0 0,152-371 80 0 0,-113 305-127 0 0,18 14 14 0 0,-118 216-56 0 0,-6 8-11 0 0,0 1-1 0 0,1 0 1 0 0,1 0 0 0 0,-1 0 0 0 0,8-7 0 0 0,-14 15 8 0 0,0 0-1 0 0,0 0 1 0 0,0 1 0 0 0,0-1 0 0 0,0 0 0 0 0,0 0-1 0 0,0 0 1 0 0,0 0 0 0 0,0 0 0 0 0,0 1 0 0 0,0-1 0 0 0,0 0-1 0 0,0 0 1 0 0,1 0 0 0 0,-1 0 0 0 0,0 0 0 0 0,0 0 0 0 0,0 1-1 0 0,0-1 1 0 0,0 0 0 0 0,0 0 0 0 0,0 0 0 0 0,0 0 0 0 0,0 0-1 0 0,0 0 1 0 0,1 0 0 0 0,-1 0 0 0 0,0 1 0 0 0,0-1-1 0 0,0 0 1 0 0,0 0 0 0 0,0 0 0 0 0,0 0 0 0 0,0 0 0 0 0,1 0-1 0 0,-1 0 1 0 0,0 0 0 0 0,0 0 0 0 0,0 0 0 0 0,0 0 0 0 0,0 0-1 0 0,1 0 1 0 0,-1 0 0 0 0,0 0 0 0 0,0 0 0 0 0,0 0 0 0 0,0 0-1 0 0,0 0 1 0 0,1 0 0 0 0,-1 0 0 0 0,0 0 0 0 0,0 0-1 0 0,0 0 1 0 0,0 0 0 0 0,0 0 0 0 0,0-1 0 0 0,1 1 0 0 0,-1 0-1 0 0,0 0 1 0 0,0 0 0 0 0,0 0 0 0 0,1 15-35 0 0,-1 1 0 0 0,-1-1 0 0 0,0 0 0 0 0,-1 0 0 0 0,-6 24 0 0 0,-29 78 154 0 0,16-55-151 0 0,-132 399 66 0 0,-30-11-49 0 0,-34-27 187 0 0,215-422-216 0 0,2-5 3 0 0,2-10-65 0 0,10-19 80 0 0,1 0-1 0 0,1 1 1 0 0,26-43-1 0 0,-2 4 140 0 0,263-498 128 0 0,43 22-138 0 0,-343 554-459 0 0,-2 9 258 0 0,-7 9 117 0 0,0 0 0 0 0,-2-1 0 0 0,-1 0 0 0 0,-25 40 0 0 0,0 2-36 0 0,-95 198 125 0 0,-166 308-27 0 0,197-403 43 0 0,100-169-122 0 0,0 0 0 0 0,0 0-1 0 0,0 0 1 0 0,0-1 0 0 0,0 1 0 0 0,0 0-1 0 0,0 0 1 0 0,0 0 0 0 0,0 0 0 0 0,0 0-1 0 0,0 0 1 0 0,0 0 0 0 0,0 0 0 0 0,0 0-1 0 0,0 0 1 0 0,0 0 0 0 0,0 0 0 0 0,0 0-1 0 0,0 0 1 0 0,0 0 0 0 0,0-1-1 0 0,-1 1 1 0 0,1 0 0 0 0,0 0 0 0 0,0 0-1 0 0,0 0 1 0 0,0 0 0 0 0,0 0 0 0 0,0 0-1 0 0,0 0 1 0 0,0 0 0 0 0,0 0 0 0 0,0 0-1 0 0,0 0 1 0 0,-1 0 0 0 0,1 0 0 0 0,0 0-1 0 0,0 0 1 0 0,0 0 0 0 0,4-14-108 0 0,11-15 108 0 0,0 1-1 0 0,2 0 1 0 0,2 1-1 0 0,25-30 1 0 0,6-7 94 0 0,-45 57-87 0 0,607-806 284 0 0,-519 701-279 0 0,-89 107-29 0 0,3-4 35 0 0,-7 9-21 0 0,0 1 0 0 0,0-1 0 0 0,0 0-1 0 0,0 0 1 0 0,0 0 0 0 0,0 0 0 0 0,0 0-1 0 0,0 0 1 0 0,0 0 0 0 0,0 0 0 0 0,0 0 0 0 0,0 0-1 0 0,0 0 1 0 0,0 0 0 0 0,0 0 0 0 0,0 0-1 0 0,0 0 1 0 0,0 1 0 0 0,0-1 0 0 0,0 0 0 0 0,0 0-6 0 0,0 0 6 0 0,0 0 0 0 0,0 0 0 0 0,0 0-1 0 0,1 0 1 0 0,-1 0 0 0 0,0 0 0 0 0,0 0-1 0 0,0 0 1 0 0,0 0 0 0 0,0 0 0 0 0,0 0 0 0 0,0 0-1 0 0,0 0 1 0 0,0 0 0 0 0,0 0 0 0 0,0 0-1 0 0,0 0 1 0 0,0 0 0 0 0,0 0 0 0 0,1 0 0 0 0,-1 0-1 0 0,0 0 1 0 0,0 0 0 0 0,0 0 0 0 0,0 0 0 0 0,-3 11-19 0 0,0 0 1 0 0,-1 0-1 0 0,0-1 1 0 0,0 0-1 0 0,-11 17 1 0 0,-39 52 174 0 0,16-26-129 0 0,-563 930 810 0 0,564-909-864 0 0,59-110-27 0 0,0 2 1 0 0,42-47 0 0 0,-24 30 110 0 0,348-471 186 0 0,-369 493-229 0 0,347-490 126 0 0,-335 477-114 0 0,54-56 0 0 0,-60 78-157 0 0,-22 20-7 0 0,-2 9-10 0 0,-2-3 134 0 0,1 1 0 0 0,-1-1 0 0 0,0 0 0 0 0,-1 1 0 0 0,1-1 0 0 0,-1 0 0 0 0,0 0 0 0 0,-4 6 0 0 0,-5 9 57 0 0,-16 23-1 0 0,-39 58 23 0 0,-308 463 32 0 0,-22-20-25 0 0,248-359 58 0 0,144-182-89 0 0,5-10-40 0 0,0-1-11 0 0,1 1-1 0 0,-1-1 1 0 0,2 1-1 0 0,-1 0 0 0 0,1 0 1 0 0,-1 0-1 0 0,6-7 1 0 0,31-41 12 0 0,-29 42 2 0 0,585-704 266 0 0,-202 251-119 0 0,-348 409-164 0 0,257-297-55 0 0,-299 351-34 0 0,-3 7-39 0 0,0 0 120 0 0,0 0 0 0 0,-1 0 0 0 0,0 0 0 0 0,0 0 0 0 0,0 0 0 0 0,-1-1 0 0 0,1 1 0 0 0,-1 0 0 0 0,-3 4 1 0 0,-29 44 89 0 0,28-44-58 0 0,-667 878 180 0 0,154-258 1 0 0,492-599-126 0 0,27-30-62 0 0,0 0 0 0 0,0-1 0 0 0,0 1 1 0 0,0 0-1 0 0,0 0 0 0 0,0 0 0 0 0,0 0 1 0 0,0 0-1 0 0,0 0 0 0 0,0 0 0 0 0,0 0 1 0 0,0 0-1 0 0,0 0 0 0 0,0 0 0 0 0,0 0 1 0 0,-1 0-1 0 0,1-1 0 0 0,0 1 0 0 0,0 0 1 0 0,0 0-1 0 0,0 0 0 0 0,0 0 0 0 0,0 0 0 0 0,0 0 1 0 0,0 0-1 0 0,0 0 0 0 0,0 0 0 0 0,0 0 1 0 0,0 0-1 0 0,0 0 0 0 0,0 0 0 0 0,-1 0 1 0 0,17-23-119 0 0,39-46 68 0 0,78-75 0 0 0,-49 56 151 0 0,749-922 126 0 0,-770 920-211 0 0,180-226 8 0 0,-240 313-43 0 0,12-12-1 0 0,-11 16-67 0 0,-3 9-151 0 0,-5 4 237 0 0,-1 0 1 0 0,0 0 0 0 0,-1 0 0 0 0,0-1 0 0 0,-1 0 0 0 0,0 0-1 0 0,-1 0 1 0 0,-10 12 0 0 0,-134 197 74 0 0,-67 95 19 0 0,-453 536 66 0 0,618-790-153 0 0,-62 68 27 0 0,80-96 37 0 0,31-32 17 0 0,8-10-33 0 0,10-16-60 0 0,1 1-1 0 0,0 0 1 0 0,2 1-1 0 0,0 1 0 0 0,20-18 1 0 0,328-325 190 0 0,-199 203-137 0 0,336-360-27 0 0,-460 475-41 0 0,19-23 20 0 0,79-67-1 0 0,-134 132-116 0 0,-3 6 50 0 0,-6 12-28 0 0,-5 4 104 0 0,-1 0 1 0 0,-1-1-1 0 0,0 0 1 0 0,-23 25-1 0 0,29-37-1 0 0,-184 250 112 0 0,-67 86-71 0 0,-175 160-2 0 0,330-393 17 0 0,94-103 11 0 0,6-8-56 0 0,12-16-51 0 0,82-76-128 0 0,-32 35 150 0 0,761-821 151 0 0,-430 464-139 0 0,-388 413-71 0 0,-4 6-23 0 0,0-1 83 0 0,0 0-1 0 0,0 0 1 0 0,0-1 0 0 0,-1 1 0 0 0,1 0 0 0 0,-1 0 0 0 0,1-1 0 0 0,-1 1 0 0 0,0 0 0 0 0,0-1 0 0 0,0 1 0 0 0,0 0 0 0 0,-1 1 0 0 0,-72 84 66 0 0,29-36-30 0 0,-300 385 34 0 0,49-58 37 0 0,-178 155 32 0 0,385-444-24 0 0,86-86-60 0 0,7-10-38 0 0,13-18-68 0 0,1 1 0 0 0,1 1 0 0 0,41-39 0 0 0,765-817 192 0 0,-583 612-113 0 0,103-88 23 0 0,-320 330-85 0 0,-22 22-11 0 0,-2 6-11 0 0,-1-2 60 0 0,-1 1 0 0 0,1 0-1 0 0,0 0 1 0 0,0 0 0 0 0,-1-1 0 0 0,0 1 0 0 0,1 0 0 0 0,-1 0-1 0 0,0-1 1 0 0,1 1 0 0 0,-1-1 0 0 0,-2 3 0 0 0,-19 26 47 0 0,-40 42 0 0 0,32-39-30 0 0,-514 638 34 0 0,1-1 83 0 0,485-604-36 0 0,106-123-219 0 0,68-61 0 0 0,-43 46 136 0 0,-43 43-2 0 0,531-530 2 0 0,18 23 36 0 0,-466 436-76 0 0,-104 92-210 0 0,-14 14 179 0 0,-21 23 64 0 0,-55 55 53 0 0,-83 89-41 0 0,-256 327 42 0 0,-41 47 55 0 0,400-479-63 0 0,-127 132 112 0 0,169-183-109 0 0,12-15 3 0 0,9-9 76 0 0,12-17-154 0 0,2 0 1 0 0,0 2-1 0 0,1 0 1 0 0,31-30-1 0 0,850-853-74 0 0,-769 786 112 0 0,424-401 126 0 0,-547 514-139 0 0,10-9-39 0 0,-1 0 1 0 0,0-1-1 0 0,15-23 1 0 0,-26 30-6 0 0,-5 7-1 0 0,-5 5-93 0 0,-112 97 128 0 0,-132 144 0 0 0,-92 139 18 0 0,330-369-7 0 0,-634 751 197 0 0,529-625-110 0 0,77-91-19 0 0,31-41-22 0 0,9-8-47 0 0,0 0 1 0 0,1 0-1 0 0,-1 0 0 0 0,0 0 0 0 0,0 0 1 0 0,0 0-1 0 0,0 0 0 0 0,0 0 1 0 0,0 0-1 0 0,0 0 0 0 0,0 0 0 0 0,0 0 1 0 0,0 0-1 0 0,0-1 0 0 0,0 1 0 0 0,0 0 1 0 0,0 0-1 0 0,0 0 0 0 0,0 0 0 0 0,0 0 1 0 0,0 0-1 0 0,0 0 0 0 0,0 0 0 0 0,0 0 1 0 0,0 0-1 0 0,0 0 0 0 0,0 0 0 0 0,0 0 1 0 0,0 0-1 0 0,0 0 0 0 0,0 0 0 0 0,0-1 1 0 0,0 1-1 0 0,0 0 0 0 0,0 0 0 0 0,0 0 1 0 0,0 0-1 0 0,0 0 0 0 0,0 0 0 0 0,0 0 1 0 0,0 0-1 0 0,0 0 0 0 0,-1 0 0 0 0,1 0 1 0 0,0 0-1 0 0,0 0 0 0 0,0 0 0 0 0,0 0 1 0 0,0 0-1 0 0,0 0 0 0 0,0 0 0 0 0,0 0 1 0 0,0 0-1 0 0,0 0 0 0 0,0 0 0 0 0,0 0 1 0 0,0 0-1 0 0,0 0 0 0 0,0 0 0 0 0,0 0 1 0 0,0 0-1 0 0,-1 0 0 0 0,1 0 0 0 0,0 0 1 0 0,0 0-1 0 0,0 0 0 0 0,0 0 0 0 0,0 0 1 0 0,13-22-13 0 0,54-49-108 0 0,434-372 42 0 0,29 24 35 0 0,-96 78 111 0 0,-321 248-15 0 0,42-33-26 0 0,-152 124-55 0 0,-2 5-5 0 0,-2-1 30 0 0,1 0 1 0 0,0 0-1 0 0,0 0 1 0 0,-1 0 0 0 0,1 0-1 0 0,-1 0 1 0 0,1 0-1 0 0,-1 0 1 0 0,0 0-1 0 0,-1 2 1 0 0,-13 18 28 0 0,0 0-1 0 0,-32 33 1 0 0,26-29-34 0 0,-203 244 2 0 0,-78 91 7 0 0,-176 172 63 0 0,369-422 70 0 0,103-106-71 0 0,7-11-6 0 0,0 2-55 0 0,0-1 1 0 0,1 1 0 0 0,0-1-1 0 0,0 1 1 0 0,0-1 0 0 0,1 1-1 0 0,5-7 1 0 0,68-74-56 0 0,477-452 52 0 0,109-116-127 0 0,-599 578 126 0 0,-60 73-48 0 0,-5 7-26 0 0,-2 6 61 0 0,0 0 0 0 0,-1-1 0 0 0,-1 1 0 0 0,0-1 0 0 0,0 0-1 0 0,-1 0 1 0 0,-10 10 0 0 0,10-12 16 0 0,-278 382 15 0 0,159-214-16 0 0,-88 118 91 0 0,184-250-67 0 0,29-38-25 0 0,7-9-18 0 0,19-16-38 0 0,215-197-30 0 0,-32 28 166 0 0,140-99-34 0 0,-332 279-111 0 0,-15 8 65 0 0,-1 0-1 0 0,0 0 0 0 0,0 0 0 0 0,0 0 0 0 0,0 0 1 0 0,0 0-1 0 0,1 0 0 0 0,-1 1 0 0 0,0-1 0 0 0,0 0 0 0 0,0 0 1 0 0,0 0-1 0 0,0 0 0 0 0,1 0 0 0 0,-1 0 0 0 0,0 0 1 0 0,0 0-1 0 0,0 1 0 0 0,0-1 0 0 0,0 0 0 0 0,0 0 1 0 0,0 0-1 0 0,0 0 0 0 0,1 0 0 0 0,-1 1 0 0 0,0-1 0 0 0,0 0 1 0 0,0 0-1 0 0,0 0 0 0 0,0 0 0 0 0,0 1 0 0 0,0-1 1 0 0,0 0-1 0 0,0 0 0 0 0,0 0 0 0 0,0 0 0 0 0,0 1 1 0 0,0-1-1 0 0,0 0 0 0 0,0 0 0 0 0,0 0 0 0 0,0 0 0 0 0,0 0 1 0 0,-1 1-1 0 0,1-1 0 0 0,-1 4-2 0 0,-1 0 0 0 0,0 0 0 0 0,0 0 0 0 0,0 0 0 0 0,-3 4 0 0 0,-15 18 29 0 0,-27 26 0 0 0,11-12-35 0 0,-245 319 156 0 0,272-345-132 0 0,5-9-8 0 0,0 0 0 0 0,0 0 0 0 0,1 0 0 0 0,0 0 0 0 0,0 1 0 0 0,1-1 0 0 0,-1 1 0 0 0,1-1 0 0 0,0 1 0 0 0,-1 11 0 0 0,3-16-48 0 0,5-3-17 0 0,25-12 35 0 0,-1-1 1 0 0,49-35-1 0 0,-25 15 82 0 0,-41 28-422 0 0,62-36 906 0 0,-35 28-2546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053"/>
    </inkml:context>
    <inkml:brush xml:id="br0">
      <inkml:brushProperty name="width" value="0.05" units="cm"/>
      <inkml:brushProperty name="height" value="0.05" units="cm"/>
      <inkml:brushProperty name="color" value="#E71224"/>
    </inkml:brush>
  </inkml:definitions>
  <inkml:trace contextRef="#ctx0" brushRef="#br0">167 0 8356 0 0,'0'0'4786'0'0,"-3"3"-4727"0"0,-8 14 224 0 0,1 1 0 0 0,0-1 0 0 0,2 2 1 0 0,0-1-1 0 0,-9 33 0 0 0,-5 36 22 0 0,-11 32-346 0 0,25-95-459 0 0,2-5-2204 0 0,-11 21-1 0 0,4-17-1524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655"/>
    </inkml:context>
    <inkml:brush xml:id="br0">
      <inkml:brushProperty name="width" value="0.05" units="cm"/>
      <inkml:brushProperty name="height" value="0.05" units="cm"/>
      <inkml:brushProperty name="color" value="#E71224"/>
    </inkml:brush>
  </inkml:definitions>
  <inkml:trace contextRef="#ctx0" brushRef="#br0">65 1 8772 0 0,'0'0'2980'0'0,"0"5"-2868"0"0,1 65 1664 0 0,-3 99-684 0 0,1-155-1087 0 0,0 0 0 0 0,-2 0 0 0 0,0 0 1 0 0,-7 21-1 0 0,6-26-1112 0 0,1 0 0 0 0,-1-1 0 0 0,-1 0 0 0 0,-8 13 0 0 0,-3-2-4979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3.949"/>
    </inkml:context>
    <inkml:brush xml:id="br0">
      <inkml:brushProperty name="width" value="0.05" units="cm"/>
      <inkml:brushProperty name="height" value="0.05" units="cm"/>
      <inkml:brushProperty name="color" value="#E71224"/>
    </inkml:brush>
  </inkml:definitions>
  <inkml:trace contextRef="#ctx0" brushRef="#br0">13 2 1377 0 0,'0'0'4783'0'0,"-13"0"4517"0"0,152-2-8640 0 0,244 9-274 0 0,-335-1-594 0 0,59 14-1 0 0,-34-6-2695 0 0,-59-11 1140 0 0,1-2 1 0 0,18 1-1 0 0,3-2-2816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461"/>
    </inkml:context>
    <inkml:brush xml:id="br0">
      <inkml:brushProperty name="width" value="0.05" units="cm"/>
      <inkml:brushProperty name="height" value="0.05" units="cm"/>
      <inkml:brushProperty name="color" value="#E71224"/>
    </inkml:brush>
  </inkml:definitions>
  <inkml:trace contextRef="#ctx0" brushRef="#br0">0 1 3474 0 0,'0'0'6787'0'0,"18"0"-6246"0"0,113 0 628 0 0,634 0 1544 0 0,-438 0-10903 0 0,-303 0 2528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942"/>
    </inkml:context>
    <inkml:brush xml:id="br0">
      <inkml:brushProperty name="width" value="0.05" units="cm"/>
      <inkml:brushProperty name="height" value="0.05" units="cm"/>
      <inkml:brushProperty name="color" value="#E71224"/>
    </inkml:brush>
  </inkml:definitions>
  <inkml:trace contextRef="#ctx0" brushRef="#br0">1 30 8724 0 0,'0'0'2062'0'0,"22"0"-1373"0"0,142 2 271 0 0,300-2 1049 0 0,-267-16-1782 0 0,0 0-1281 0 0,-111 16-3900 0 0,-56 0 1685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5.444"/>
    </inkml:context>
    <inkml:brush xml:id="br0">
      <inkml:brushProperty name="width" value="0.05" units="cm"/>
      <inkml:brushProperty name="height" value="0.05" units="cm"/>
      <inkml:brushProperty name="color" value="#E71224"/>
    </inkml:brush>
  </inkml:definitions>
  <inkml:trace contextRef="#ctx0" brushRef="#br0">1 1 7764 0 0,'0'0'2358'0'0,"17"0"-1448"0"0,4 2-673 0 0,81 1 793 0 0,-6-3-625 0 0,407 0 2310 0 0,-167 0-9968 0 0,-319 0 3041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118"/>
    </inkml:context>
    <inkml:brush xml:id="br0">
      <inkml:brushProperty name="width" value="0.05" units="cm"/>
      <inkml:brushProperty name="height" value="0.05" units="cm"/>
      <inkml:brushProperty name="color" value="#E71224"/>
    </inkml:brush>
  </inkml:definitions>
  <inkml:trace contextRef="#ctx0" brushRef="#br0">1 17 8788 0 0,'0'0'2628'0'0,"19"0"-2385"0"0,148 0 26 0 0,-148 0-243 0 0,40 1 692 0 0,0-3 0 0 0,70-12 0 0 0,-125 13-718 0 0,-4 1-219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730"/>
    </inkml:context>
    <inkml:brush xml:id="br0">
      <inkml:brushProperty name="width" value="0.05" units="cm"/>
      <inkml:brushProperty name="height" value="0.05" units="cm"/>
      <inkml:brushProperty name="color" value="#E71224"/>
    </inkml:brush>
  </inkml:definitions>
  <inkml:trace contextRef="#ctx0" brushRef="#br0">95 1 4962 0 0,'0'0'2119'0'0,"-1"6"-914"0"0,-1-2-957 0 0,-1 0 0 0 0,0 0-1 0 0,1-1 1 0 0,-2 1 0 0 0,1-1-1 0 0,-5 4 1 0 0,4-2-190 0 0,-1-1 0 0 0,1 0 1 0 0,-7 10-1 0 0,9-12-139 0 0,-21 33 58 0 0,10-23-2370 0 0,7-8-1617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090"/>
    </inkml:context>
    <inkml:brush xml:id="br0">
      <inkml:brushProperty name="width" value="0.05" units="cm"/>
      <inkml:brushProperty name="height" value="0.05" units="cm"/>
      <inkml:brushProperty name="color" value="#E71224"/>
    </inkml:brush>
  </inkml:definitions>
  <inkml:trace contextRef="#ctx0" brushRef="#br0">68 1 6067 0 0,'0'0'8011'0'0,"0"14"-7877"0"0,-4 395 1651 0 0,-33-409-10872 0 0,10 0 3602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529"/>
    </inkml:context>
    <inkml:brush xml:id="br0">
      <inkml:brushProperty name="width" value="0.05" units="cm"/>
      <inkml:brushProperty name="height" value="0.05" units="cm"/>
      <inkml:brushProperty name="color" value="#E71224"/>
    </inkml:brush>
  </inkml:definitions>
  <inkml:trace contextRef="#ctx0" brushRef="#br0">0 10 816 0 0,'0'0'846'0'0,"11"4"8775"0"0,-4-3-8346 0 0,117 0 1222 0 0,137-2-3831 0 0,-260 1 1174 0 0,1 0-234 0 0,1 0-1 0 0,-1 0 1 0 0,0 0 0 0 0,0-1 0 0 0,0 1-1 0 0,0-1 1 0 0,0 1 0 0 0,0-1 0 0 0,0 0 0 0 0,0 1-1 0 0,0-1 1 0 0,2-1 0 0 0,3-6-3480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30.713"/>
    </inkml:context>
    <inkml:brush xml:id="br0">
      <inkml:brushProperty name="width" value="0.35" units="cm"/>
      <inkml:brushProperty name="height" value="0.35" units="cm"/>
    </inkml:brush>
  </inkml:definitions>
  <inkml:trace contextRef="#ctx0" brushRef="#br0">1072 2280 2753 0 0,'0'0'6483'0'0,"-4"-12"-7134"0"0,-3-3 602 0 0,4 8 30 0 0,0-1 1 0 0,0 1 0 0 0,1-1-1 0 0,0 0 1 0 0,-1-8-1 0 0,3 13 110 0 0,0 0-1 0 0,-1 0 0 0 0,0 0 1 0 0,1 0-1 0 0,-1 0 1 0 0,0 0-1 0 0,-1 0 0 0 0,1 0 1 0 0,0 1-1 0 0,-1-1 0 0 0,0 0 1 0 0,1 1-1 0 0,-1-1 1 0 0,0 1-1 0 0,0-1 0 0 0,0 1 1 0 0,-1 0-1 0 0,1 0 1 0 0,-1 0-1 0 0,1 0 0 0 0,-1 0 1 0 0,0 1-1 0 0,1-1 0 0 0,-1 1 1 0 0,0 0-1 0 0,0 0 1 0 0,0 0-1 0 0,0 0 0 0 0,0 0 1 0 0,0 1-1 0 0,0-1 1 0 0,-6 1-1 0 0,-3 0 46 0 0,0 0 0 0 0,0 1 0 0 0,0 1 0 0 0,0 0 1 0 0,1 1-1 0 0,-1 0 0 0 0,0 0 0 0 0,-13 8 0 0 0,-10 6-86 0 0,-40 25-1 0 0,52-28-15 0 0,-26 16 68 0 0,-55 31 44 0 0,103-61-146 0 0,1 0 1 0 0,0 0-1 0 0,-1 1 1 0 0,1-1-1 0 0,0 0 0 0 0,-1 0 1 0 0,1 1-1 0 0,-1-1 1 0 0,1 0-1 0 0,0 0 0 0 0,-1 0 1 0 0,1 0-1 0 0,-1 0 1 0 0,1 0-1 0 0,0 1 0 0 0,-1-1 1 0 0,1 0-1 0 0,-1 0 1 0 0,1 0-1 0 0,0 0 0 0 0,-1-1 1 0 0,1 1-1 0 0,-1 0 1 0 0,1 0-1 0 0,-1 0 0 0 0,1 0 1 0 0,0 0-1 0 0,-1 0 1 0 0,0-1-1 0 0,1 0-17 0 0,0 0 0 0 0,0 0-1 0 0,0 0 1 0 0,1 0 0 0 0,-1 0 0 0 0,0 0-1 0 0,0 0 1 0 0,0 0 0 0 0,1 0 0 0 0,-1 0-1 0 0,0 0 1 0 0,1 0 0 0 0,0-1 0 0 0,7-12-30 0 0,0 1 1 0 0,0 1-1 0 0,1 0 1 0 0,18-19-1 0 0,-18 21 98 0 0,305-349 371 0 0,-297 339-468 0 0,-3 5 95 0 0,-1 0 0 0 0,-1-1 1 0 0,-1 0-1 0 0,15-28 0 0 0,-25 43-31 0 0,-1 0 1 0 0,1 1-1 0 0,-1-1 0 0 0,0 0 1 0 0,1 0-1 0 0,-1 0 1 0 0,0 1-1 0 0,0-1 1 0 0,1 0-1 0 0,-1 0 0 0 0,0 0 1 0 0,0 0-1 0 0,0 0 1 0 0,0 1-1 0 0,0-1 1 0 0,-1 0-1 0 0,1 0 0 0 0,0 0 1 0 0,0 0-1 0 0,-1-1 1 0 0,1 2-2 0 0,-1-1 0 0 0,1 1 0 0 0,-1-1 1 0 0,1 1-1 0 0,-1-1 0 0 0,0 1 0 0 0,1 0 0 0 0,-1-1 1 0 0,0 1-1 0 0,1 0 0 0 0,-1 0 0 0 0,1-1 0 0 0,-1 1 1 0 0,0 0-1 0 0,0 0 0 0 0,1 0 0 0 0,-1 0 0 0 0,0 0 1 0 0,-1 0-1 0 0,-4 0 6 0 0,0 1 0 0 0,0 0 0 0 0,0 0 0 0 0,-8 3-1 0 0,-8 4-2 0 0,1 1-1 0 0,0 1 0 0 0,0 1 0 0 0,-21 15 0 0 0,-78 60 110 0 0,107-76-92 0 0,-38 29 24 0 0,3 2-1 0 0,1 2 1 0 0,-62 74 0 0 0,107-115-68 0 0,1-1 1 0 0,-1 1-1 0 0,1 0 1 0 0,-1 0 0 0 0,1 0-1 0 0,0 0 1 0 0,0 0-1 0 0,0 0 1 0 0,0 0 0 0 0,0 0-1 0 0,1 1 1 0 0,-1-1-1 0 0,0 0 1 0 0,1 3 0 0 0,0-5 0 0 0,0 0 0 0 0,0 0 1 0 0,0 0-1 0 0,0 0 1 0 0,0 0-1 0 0,0-1 1 0 0,0 1-1 0 0,0 0 0 0 0,0 0 1 0 0,0 0-1 0 0,0 0 1 0 0,0 0-1 0 0,0 0 0 0 0,0 0 1 0 0,0 0-1 0 0,0 0 1 0 0,0 0-1 0 0,0 0 1 0 0,0 0-1 0 0,0 0 0 0 0,1 0 1 0 0,-1 0-1 0 0,0 0 1 0 0,0 0-1 0 0,0 0 0 0 0,0 0 1 0 0,0 0-1 0 0,0 0 1 0 0,0 0-1 0 0,0 0 0 0 0,0 0 1 0 0,0 0-1 0 0,0 0 1 0 0,0 0-1 0 0,1 0 1 0 0,-1 0-1 0 0,0 0 0 0 0,0 0 1 0 0,0 0-1 0 0,0 0 1 0 0,0 0-1 0 0,0 0 0 0 0,0 0 1 0 0,0 0-1 0 0,0 0 1 0 0,0 0-1 0 0,0 0 1 0 0,0 0-1 0 0,0 0 0 0 0,1 0 1 0 0,-1 0-1 0 0,0 0 1 0 0,0 0-1 0 0,0 0 0 0 0,0 0 1 0 0,0 0-1 0 0,0 0 1 0 0,0 1-1 0 0,0-1 0 0 0,0 0 1 0 0,0 0-1 0 0,0 0 1 0 0,0 0-1 0 0,29-19-29 0 0,-1-1 0 0 0,-1-2-1 0 0,-1 0 1 0 0,24-28 0 0 0,80-86 629 0 0,-96 96-320 0 0,46-70 0 0 0,-78 107-222 0 0,0 0 1 0 0,0 0-1 0 0,-1 0 0 0 0,1 0 1 0 0,-1 0-1 0 0,0 0 0 0 0,0-1 1 0 0,0 1-1 0 0,0-1 0 0 0,0 1 1 0 0,-1 0-1 0 0,0-7 0 0 0,-3 9 324 0 0,-5 1-337 0 0,-3 0-21 0 0,0 0 0 0 0,1 0 0 0 0,-1 1 0 0 0,1 1-1 0 0,-1 0 1 0 0,1 0 0 0 0,-11 4 0 0 0,-27 14 51 0 0,1 3 1 0 0,1 1-1 0 0,-45 32 0 0 0,234-160-1250 0 0,-108 75 1347 0 0,-1-1 0 0 0,41-48 0 0 0,-72 74-156 0 0,0 2 0 0 0,-1-1 0 0 0,0 1 1 0 0,0 0-1 0 0,-1-1 0 0 0,1 0 0 0 0,0 1 0 0 0,-1-1 0 0 0,1 0 0 0 0,-1 0 0 0 0,0 0 0 0 0,1-4 0 0 0,-2 7-11 0 0,0 0 1 0 0,0-1-1 0 0,0 1 1 0 0,0 0-1 0 0,0 0 1 0 0,0 0-1 0 0,0-1 1 0 0,0 1-1 0 0,0 0 1 0 0,0 0-1 0 0,0-1 0 0 0,0 1 1 0 0,0 0-1 0 0,0 0 1 0 0,0-1-1 0 0,0 1 1 0 0,0 0-1 0 0,0 0 1 0 0,0 0-1 0 0,0-1 1 0 0,0 1-1 0 0,0 0 0 0 0,0 0 1 0 0,-1-1-1 0 0,1 1 1 0 0,0 0-1 0 0,0 0 1 0 0,0 0-1 0 0,0 0 1 0 0,-1-1-1 0 0,1 1 1 0 0,0 0-1 0 0,0 0 0 0 0,0 0 1 0 0,-1 0-1 0 0,1 0 1 0 0,0 0-1 0 0,-1-1 1 0 0,-2 1-15 0 0,-1-1 0 0 0,1 1 0 0 0,-1-1 0 0 0,0 1 1 0 0,1 0-1 0 0,-1 1 0 0 0,0-1 0 0 0,1 0 0 0 0,-1 1 1 0 0,0 0-1 0 0,-3 1 0 0 0,-43 18-24 0 0,42-16 50 0 0,-198 102 206 0 0,152-76-154 0 0,51-29-103 0 0,31-16-938 0 0,-6 1 990 0 0,0 0 0 0 0,-1-2-1 0 0,-1-1 1 0 0,-1 0 0 0 0,0-1-1 0 0,19-24 1 0 0,-37 40 2 0 0,1 0 1 0 0,-1 0-1 0 0,1-1 1 0 0,-1 1-1 0 0,0-1 1 0 0,1 1-1 0 0,-1-1 1 0 0,-1 1 0 0 0,1-1-1 0 0,0 1 1 0 0,-1-1-1 0 0,1 0 1 0 0,-1 0-1 0 0,0 1 1 0 0,0-5-1 0 0,0 7-17 0 0,0-1 1 0 0,-1 1-1 0 0,1-1 0 0 0,0 1 1 0 0,-1 0-1 0 0,1-1 0 0 0,0 1 0 0 0,-1 0 1 0 0,1-1-1 0 0,-1 1 0 0 0,1 0 1 0 0,0 0-1 0 0,-1-1 0 0 0,1 1 0 0 0,-1 0 1 0 0,1 0-1 0 0,-1 0 0 0 0,1 0 1 0 0,-1-1-1 0 0,1 1 0 0 0,-1 0 0 0 0,1 0 1 0 0,-1 0-1 0 0,1 0 0 0 0,-1 0 1 0 0,1 0-1 0 0,-1 0 0 0 0,1 1 0 0 0,-1-1 1 0 0,1 0-1 0 0,-2 0 0 0 0,-2 1-22 0 0,-12-1 14 0 0,0 2 0 0 0,0 0 1 0 0,1 1-1 0 0,-1 0 0 0 0,1 1 0 0 0,-26 11 0 0 0,8 0 111 0 0,-59 35-1 0 0,86-44-468 0 0,17-9-84 0 0,29-17 476 0 0,42-30 1 0 0,9-5 265 0 0,-106 59-438 0 0,-18 13 226 0 0,1 1 1 0 0,2 1 0 0 0,-52 42-1 0 0,56-41-51 0 0,20-16-23 0 0,-12 10 42 0 0,-23 22 0 0 0,37-32-44 0 0,0 0 0 0 0,1 0-1 0 0,-1 1 1 0 0,1-1 0 0 0,0 1-1 0 0,0-1 1 0 0,0 1 0 0 0,1 0-1 0 0,0 0 1 0 0,0 0 0 0 0,-2 8-1 0 0,4-13-8 0 0,0 1-1 0 0,-1 0 1 0 0,1-1-1 0 0,0 1 1 0 0,0 0-1 0 0,0 0 1 0 0,0-1-1 0 0,0 1 1 0 0,0 0-1 0 0,0 0 1 0 0,0-1-1 0 0,0 1 1 0 0,0 0-1 0 0,1 0 1 0 0,-1-1-1 0 0,0 1 1 0 0,0 0-1 0 0,1-1 0 0 0,-1 1 1 0 0,0 0-1 0 0,1-1 1 0 0,-1 1-1 0 0,1 0 1 0 0,-1-1-1 0 0,1 1 1 0 0,-1-1-1 0 0,1 1 1 0 0,-1-1-1 0 0,1 1 1 0 0,0-1-1 0 0,-1 0 1 0 0,1 1-1 0 0,0 0 1 0 0,2-1-28 0 0,1 1 0 0 0,-1 0 1 0 0,0-1-1 0 0,0 0 0 0 0,0 1 1 0 0,6-2-1 0 0,0 1 15 0 0,25 1-16 0 0,1-2-1 0 0,0-1 1 0 0,65-14 0 0 0,215-77 232 0 0,1 1 205 0 0,-297 88-407 0 0,0 0 1 0 0,25 0 0 0 0,-43 3-1 0 0,-1 1 1 0 0,0 0-1 0 0,1 0 0 0 0,-1 0 1 0 0,1 0-1 0 0,-1 0 1 0 0,1 0-1 0 0,-1 0 0 0 0,1 0 1 0 0,-1 1-1 0 0,1-1 0 0 0,-1 0 1 0 0,1 0-1 0 0,-1 0 0 0 0,0 0 1 0 0,1 1-1 0 0,-1-1 1 0 0,1 0-1 0 0,-1 0 0 0 0,0 1 1 0 0,1-1-1 0 0,-1 0 0 0 0,0 1 1 0 0,1-1-1 0 0,-1 0 1 0 0,0 1-1 0 0,1-1 0 0 0,-1 0 1 0 0,0 2-1 0 0,1-1 1 0 0,-1 0 0 0 0,0 0 1 0 0,0 0-1 0 0,0 0 0 0 0,0 0 0 0 0,0 0 0 0 0,0 0 1 0 0,-1 1-1 0 0,1-1 0 0 0,0 0 0 0 0,0 0 0 0 0,-1 1 1 0 0,-2 4 22 0 0,1-1 1 0 0,-1 0-1 0 0,0 0 1 0 0,-6 8-1 0 0,-18 15 119 0 0,-1 0 1 0 0,-61 45-1 0 0,33-29-54 0 0,-36 32-39 0 0,-219 186 357 0 0,288-242-333 0 0,0 0 1 0 0,2 2-1 0 0,-29 37 0 0 0,34-27-51 0 0,15-26-104 0 0,9-4-50 0 0,1-2 89 0 0,-1-1 0 0 0,0 1 0 0 0,1-1 0 0 0,-1-1 0 0 0,0 0 1 0 0,10-3-1 0 0,57-24-31 0 0,383-198 448 0 0,-248 118-253 0 0,-126 67-101 0 0,335-160 263 0 0,-405 197-253 0 0,-10 4-44 0 0,-7 3-96 0 0,-216 130 325 0 0,74-46-146 0 0,-580 407 57 0 0,716-486-109 0 0,-13 10 29 0 0,0 1 0 0 0,1 0 0 0 0,1 2 0 0 0,-23 27 0 0 0,43-47-40 0 0,-1 2 4 0 0,0-1-1 0 0,-1 1 1 0 0,1 0 0 0 0,0-1 0 0 0,0 1-1 0 0,1 0 1 0 0,-1 0 0 0 0,0 0 0 0 0,0 0-1 0 0,0 2 1 0 0,1-3-7 0 0,0-1 1 0 0,1 0-1 0 0,-1 0 1 0 0,0 1-1 0 0,0-1 1 0 0,0 0-1 0 0,0 1 0 0 0,0-1 1 0 0,0 0-1 0 0,1 0 1 0 0,-1 0-1 0 0,0 1 1 0 0,0-1-1 0 0,0 0 0 0 0,1 0 1 0 0,-1 1-1 0 0,0-1 1 0 0,0 0-1 0 0,0 0 0 0 0,1 0 1 0 0,-1 0-1 0 0,0 0 1 0 0,0 1-1 0 0,1-1 1 0 0,-1 0-1 0 0,0 0 0 0 0,1 0 1 0 0,-1 0-1 0 0,1 0 1 0 0,20-1-232 0 0,5-5 94 0 0,38-12 0 0 0,75-38 161 0 0,838-423 353 0 0,-658 316-283 0 0,-306 157-86 0 0,143-78 59 0 0,-127 66-21 0 0,-26 14 1 0 0,-6 4-27 0 0,-13 3 47 0 0,-28 12 98 0 0,-59 29-1 0 0,-49 35-169 0 0,142-74 16 0 0,-1155 710 133 0 0,1147-703-136 0 0,-48 32 35 0 0,-72 62 1 0 0,105-70-23 0 0,33-36-19 0 0,-1 0 0 0 0,1 0-1 0 0,0 0 1 0 0,0 0-1 0 0,0 0 1 0 0,0 0-1 0 0,0 0 1 0 0,0 0 0 0 0,0 0-1 0 0,-1 0 1 0 0,1 0-1 0 0,0 0 1 0 0,0 0 0 0 0,0 0-1 0 0,0 1 1 0 0,0-1-1 0 0,0 0 1 0 0,0 0 0 0 0,0 0-1 0 0,0 0 1 0 0,0 0-1 0 0,0 0 1 0 0,0 0-1 0 0,-1 0 1 0 0,1 1 0 0 0,0-1-1 0 0,0 0 1 0 0,0 0-1 0 0,0 0 1 0 0,0 0 0 0 0,0 0-1 0 0,0 0 1 0 0,0 1-1 0 0,0-1 1 0 0,0 0-1 0 0,0 0 1 0 0,0 0 0 0 0,0 0-1 0 0,1 0 1 0 0,-1 0-1 0 0,0 0 1 0 0,0 1 0 0 0,0-1-1 0 0,0 0 1 0 0,0 0-1 0 0,0 0 1 0 0,0 0 0 0 0,0 0-1 0 0,0 0 1 0 0,0 0-1 0 0,15-3-182 0 0,77-25-403 0 0,62-36 473 0 0,1732-837 463 0 0,-1856 886-329 0 0,-4 2 54 0 0,28-18 0 0 0,-99 44-122 0 0,-195 97 219 0 0,-4 24-210 0 0,155-84 115 0 0,-909 521 26 0 0,894-508-68 0 0,76-43-22 0 0,23-13-35 0 0,7-4-35 0 0,9-3-5 0 0,-1-1 1 0 0,1-1-1 0 0,-1 0 1 0 0,0 0-1 0 0,0-1 1 0 0,11-5-1 0 0,137-53 45 0 0,45-25 87 0 0,385-174 126 0 0,550-227 114 0 0,-1082 464-333 0 0,-237 101-13 0 0,117-48 58 0 0,-877 459 11 0 0,627-308-8 0 0,222-126 3 0 0,86-51-23 0 0,0 0-1 0 0,1 1 1 0 0,0-1 0 0 0,-8 9 0 0 0,13-13-5 0 0,0 0 1 0 0,0 0 0 0 0,0 0-1 0 0,-1 0 1 0 0,1 0-1 0 0,0 0 1 0 0,0 0 0 0 0,0 0-1 0 0,0 1 1 0 0,0-1-1 0 0,0 0 1 0 0,0 0 0 0 0,0 0-1 0 0,0 0 1 0 0,0 0 0 0 0,0 0-1 0 0,0 0 1 0 0,-1 0-1 0 0,1 0 1 0 0,0 0 0 0 0,0 0-1 0 0,0 0 1 0 0,0 0 0 0 0,0 0-1 0 0,0 1 1 0 0,0-1-1 0 0,0 0 1 0 0,0 0 0 0 0,0 0-1 0 0,0 0 1 0 0,0 0-1 0 0,0 0 1 0 0,0 0 0 0 0,0 0-1 0 0,0 0 1 0 0,0 0 0 0 0,0 1-1 0 0,0-1 1 0 0,0 0-1 0 0,0 0 1 0 0,0 0 0 0 0,0 0-1 0 0,0 0 1 0 0,0 0 0 0 0,0 0-1 0 0,0 0 1 0 0,0 0-1 0 0,0 0 1 0 0,0 0 0 0 0,1 1-1 0 0,-1-1 1 0 0,0 0-1 0 0,0 0 1 0 0,0 0 0 0 0,0 0-1 0 0,0 0 1 0 0,0 0 0 0 0,0 0-1 0 0,0 0 1 0 0,0 0-1 0 0,0 0 1 0 0,0 0 0 0 0,0 0-1 0 0,1 0 1 0 0,-1 0 0 0 0,0 0-1 0 0,0 0 1 0 0,0 0-1 0 0,0 0 1 0 0,18-3-123 0 0,86-28-349 0 0,66-34 475 0 0,400-165 191 0 0,501-192 201 0 0,-1024 405-380 0 0,99-40-14 0 0,-131 49-28 0 0,-26 9-30 0 0,-37 13 0 0 0,-259 108 335 0 0,-1 20-268 0 0,-575 329-47 0 0,859-456 59 0 0,-21 17 1 0 0,43-31-23 0 0,0 0 0 0 0,1 0 0 0 0,0 0 0 0 0,-1 1-1 0 0,1-1 1 0 0,0 0 0 0 0,-1 1 0 0 0,1-1 0 0 0,0 1 0 0 0,0 0 0 0 0,0-1-1 0 0,-1 3 1 0 0,2-4-2 0 0,1 0-1 0 0,-1 0 0 0 0,0 1 1 0 0,0-1-1 0 0,0 0 1 0 0,0 0-1 0 0,0 0 0 0 0,1 1 1 0 0,-1-1-1 0 0,0 0 0 0 0,0 0 1 0 0,0 0-1 0 0,1 0 1 0 0,-1 1-1 0 0,0-1 0 0 0,0 0 1 0 0,0 0-1 0 0,1 0 1 0 0,-1 0-1 0 0,0 0 0 0 0,0 0 1 0 0,1 0-1 0 0,-1 0 0 0 0,0 0 1 0 0,0 0-1 0 0,1 0 1 0 0,-1 0-1 0 0,0 0 0 0 0,0 0 1 0 0,1 0-1 0 0,-1 0 0 0 0,0 0 1 0 0,23-3-177 0 0,80-25-106 0 0,52-26 301 0 0,1348-561 515 0 0,-1480 604-528 0 0,0 1 0 0 0,35-22-1 0 0,-51 26-2 0 0,-8 5 14 0 0,-8 3 54 0 0,-53 21 63 0 0,-92 50 0 0 0,105-49-118 0 0,-702 372 39 0 0,681-358-88 0 0,33-18 31 0 0,17-10 8 0 0,0 1-1 0 0,1 1 1 0 0,-25 19 0 0 0,41-27-17 0 0,16-4-101 0 0,12-3-61 0 0,0-1 1 0 0,36-11-1 0 0,61-25 218 0 0,664-265 277 0 0,-54 21-305 0 0,-576 230 16 0 0,-153 52-60 0 0,-4 2 11 0 0,-13 2 3 0 0,-32 10 25 0 0,-239 98 112 0 0,1 22-45 0 0,-427 226 50 0 0,674-338-129 0 0,6-5 3 0 0,0 2 0 0 0,-39 29 0 0 0,63-37-15 0 0,7-9 12 0 0,0 1 1 0 0,0-1-1 0 0,0 0 0 0 0,0 0 0 0 0,0 1 0 0 0,0-1 1 0 0,0 0-1 0 0,1 0 0 0 0,-1 1 0 0 0,0-1 0 0 0,0 0 1 0 0,0 0-1 0 0,1 0 0 0 0,-1 0 0 0 0,0 1 0 0 0,0-1 1 0 0,0 0-1 0 0,1 0 0 0 0,-1 0 0 0 0,0 0 0 0 0,0 0 1 0 0,1 0-1 0 0,-1 0 0 0 0,0 1 0 0 0,0-1 0 0 0,1 0 1 0 0,-1 0-1 0 0,0 0 0 0 0,1 0 0 0 0,-1 0 1 0 0,7 0-56 0 0,0 0 1 0 0,0 0 0 0 0,0 0 0 0 0,0-1 0 0 0,0 0-1 0 0,10-2 1 0 0,111-35-119 0 0,655-254 353 0 0,-304 108-175 0 0,2 19 67 0 0,-477 164-293 0 0,-8 1 110 0 0,-16 4-44 0 0,-334 122-33 0 0,-2 23 262 0 0,331-138-63 0 0,-233 106 48 0 0,16 14 59 0 0,204-104-59 0 0,34-22-39 0 0,13-3-93 0 0,5-3-13 0 0,1 0-1 0 0,-1-1 1 0 0,0 0-1 0 0,15-5 1 0 0,59-22 77 0 0,-40 12 36 0 0,163-57 91 0 0,48-17-38 0 0,720-246 136 0 0,12 40 92 0 0,-968 290-387 0 0,-54 13-156 0 0,-81 24 110 0 0,-1486 505 347 0 0,1431-467-6 0 0,65-21 32 0 0,100-46-241 0 0,-4 2 28 0 0,1 0 0 0 0,-1 0 0 0 0,-8 8-1 0 0,14-11-30 0 0,0 0-1 0 0,0 0 0 0 0,0 0 0 0 0,0 0 0 0 0,0 0 0 0 0,-1 1 0 0 0,1-1 1 0 0,0 0-1 0 0,0 0 0 0 0,0 0 0 0 0,0 0 0 0 0,0 0 0 0 0,0 0 0 0 0,0 0 1 0 0,0 1-1 0 0,0-1 0 0 0,0 0 0 0 0,0 0 0 0 0,0 0 0 0 0,0 0 0 0 0,0 0 0 0 0,0 1 1 0 0,0-1-1 0 0,0 0 0 0 0,0 0 0 0 0,0 0 0 0 0,0 0 0 0 0,0 0 0 0 0,0 1 1 0 0,0-1-1 0 0,0 0 0 0 0,0 0 0 0 0,0 0 0 0 0,0 0 0 0 0,0 0 0 0 0,0 0 1 0 0,0 1-1 0 0,0-1 0 0 0,0 0 0 0 0,0 0 0 0 0,0 0 0 0 0,1 0 0 0 0,-1 0 1 0 0,0 0-1 0 0,0 0 0 0 0,0 0 0 0 0,0 1 0 0 0,0-1 0 0 0,0 0 0 0 0,0 0 1 0 0,1 0-1 0 0,-1 0 0 0 0,0 0 0 0 0,0 0 0 0 0,0 0 0 0 0,0 0 0 0 0,0 0 1 0 0,1 0-1 0 0,-1 0 0 0 0,26-1-97 0 0,95-21-234 0 0,73-32 323 0 0,51-21 163 0 0,89-28-40 0 0,422-126 111 0 0,0 25-63 0 0,-670 184-430 0 0,-99 22-384 0 0,-100 22 430 0 0,-54 22 168 0 0,-1253 426 199 0 0,1377-456-77 0 0,1-1 63 0 0,1 2 0 0 0,-41 23 0 0 0,74-33-86 0 0,17-5-92 0 0,6-3-70 0 0,1-1 0 0 0,28-6 1 0 0,118-38 104 0 0,60-21 201 0 0,1583-450 58 0 0,-1855 526-1243 0 0,-85 28 802 0 0,-60 19 188 0 0,-47 18 48 0 0,-1103 391 781 0 0,1309-451-727 0 0,-2 0 96 0 0,1 2-1 0 0,-47 28 1 0 0,80-40-171 0 0,22-6-111 0 0,96-21-289 0 0,79-29 415 0 0,56-22 102 0 0,1113-308 301 0 0,-1138 330-1238 0 0,-262 65-784 0 0,-89 26 1313 0 0,-58 17 327 0 0,-1008 344 1514 0 0,1152-386-1422 0 0,-11 5 338 0 0,-63 32 0 0 0,106-45-346 0 0,17-4-170 0 0,5-2-91 0 0,0-1 0 0 0,0-1-1 0 0,17-3 1 0 0,119-34 185 0 0,352-107 305 0 0,364-98 11 0 0,-864 244-385 0 0,191-45-768 0 0,-218 50 441 0 0,-38 14-1 0 0,13-2 355 0 0,-816 252 405 0 0,832-258-348 0 0,0-1 206 0 0,-60 27 1 0 0,85-31-120 0 0,9-3-117 0 0,22-4-160 0 0,283-63 287 0 0,-175 34-111 0 0,-43 10-49 0 0,140-28-54 0 0,-211 47-207 0 0,-13 1 19 0 0,-5 0 133 0 0,-6 1 119 0 0,0 0-1 0 0,0 0 1 0 0,0 1 0 0 0,-1 0-1 0 0,2 1 1 0 0,-10 3 0 0 0,-56 27-32 0 0,55-24 19 0 0,-343 174 13 0 0,162-81-21 0 0,176-90 6 0 0,17-10 6 0 0,1 1 0 0 0,0 1-1 0 0,-1-1 1 0 0,1 1 0 0 0,1 0-1 0 0,-1 0 1 0 0,-6 7 0 0 0,11-9 3 0 0,12-4-76 0 0,59-15-119 0 0,69-27 0 0 0,-131 41 177 0 0,545-189 337 0 0,542-173-391 0 0,-1100 365-171 0 0,-14 2 167 0 0,-278 97 290 0 0,265-87-224 0 0,-874 362 146 0 0,861-354-157 0 0,5-3-15 0 0,-60 34 0 0 0,91-42-12 0 0,9-9 24 0 0,0 0 0 0 0,0 0 0 0 0,1 0 1 0 0,-1 0-1 0 0,0 1 0 0 0,0-1 0 0 0,0 0 0 0 0,0 0 0 0 0,0 0 0 0 0,0 0 0 0 0,0 1 0 0 0,0-1 0 0 0,0 0 1 0 0,1 0-1 0 0,-1 0 0 0 0,0 0 0 0 0,0 0 0 0 0,0 1 0 0 0,0-1 0 0 0,0 0 0 0 0,1 0 0 0 0,-1 0 1 0 0,0 0-1 0 0,0 0 0 0 0,0 0 0 0 0,0 0 0 0 0,1 0 0 0 0,-1 0 0 0 0,0 0 0 0 0,0 0 0 0 0,0 0 1 0 0,0 0-1 0 0,1 0 0 0 0,-1 0 0 0 0,0 0 0 0 0,0 0 0 0 0,7 1-40 0 0,-1-1 0 0 0,0 0 0 0 0,1 0 0 0 0,-1-1 0 0 0,0 0 1 0 0,8-2-1 0 0,113-31-97 0 0,344-128 323 0 0,0-21-155 0 0,-303 116-69 0 0,176-65 73 0 0,262-108-1 0 0,-19-37-582 0 0,-585 276 549 0 0,78-42-100 0 0,116-82 0 0 0,-184 116 100 0 0,-9 7 4 0 0,0 1 1 0 0,-1-1-1 0 0,1 0 1 0 0,-1-1 0 0 0,1 1-1 0 0,-1 0 1 0 0,1-1-1 0 0,-1 1 1 0 0,0-1 0 0 0,0 0-1 0 0,-1 0 1 0 0,3-3-1 0 0,-4 3 56 0 0,-6 2 45 0 0,-14 2-11 0 0,1 1 1 0 0,0 0-1 0 0,0 1 1 0 0,1 1-1 0 0,-20 7 0 0 0,-256 80-7 0 0,129-37-60 0 0,-795 219 100 0 0,944-267-183 0 0,43-10-153 0 0,74-24-148 0 0,989-364 433 0 0,-461 121-955 0 0,-599 257 854 0 0,-2 2 26 0 0,0-1 1 0 0,-1-1-1 0 0,0-2 0 0 0,28-22 1 0 0,-53 37 0 0 0,0 0 0 0 0,-1 0 0 0 0,1-1 1 0 0,-1 1-1 0 0,1 0 0 0 0,-1-1 0 0 0,0 0 0 0 0,1 1 1 0 0,-1-1-1 0 0,0 0 0 0 0,0 0 0 0 0,1-3 0 0 0,-2 5 1 0 0,0-1-1 0 0,0 1 0 0 0,0 0 0 0 0,0-1 1 0 0,0 1-1 0 0,0 0 0 0 0,-1-1 0 0 0,1 1 1 0 0,0 0-1 0 0,0-1 0 0 0,0 1 0 0 0,-1 0 1 0 0,1 0-1 0 0,0-1 0 0 0,0 1 0 0 0,-1 0 0 0 0,1 0 1 0 0,0-1-1 0 0,-1 1 0 0 0,1 0 0 0 0,0 0 1 0 0,-1 0-1 0 0,1 0 0 0 0,0-1 0 0 0,-1 1 1 0 0,1 0-1 0 0,-1 0 0 0 0,-24-3 55 0 0,-9 3-38 0 0,-43 5-1 0 0,-96 27 29 0 0,-53 21-52 0 0,-52 17 60 0 0,-1224 363 285 0 0,1394-401-270 0 0,-111 34 83 0 0,11 3-46 0 0,201-66-68 0 0,22-4-81 0 0,88-16-333 0 0,84-31 363 0 0,65-21 159 0 0,1625-466 60 0 0,-1665 467-174 0 0,-56 13-5 0 0,-124 44-16 0 0,30-13 13 0 0,-57 21-16 0 0,0 1 1 0 0,1-1 0 0 0,-1-1-1 0 0,0 1 1 0 0,-1-1-1 0 0,1 0 1 0 0,7-9 0 0 0,-11 13-8 0 0,-1 0 0 0 0,0 0 1 0 0,1 0-1 0 0,-1-1 0 0 0,0 1 0 0 0,0 0 1 0 0,1 0-1 0 0,-1-1 0 0 0,0 1 1 0 0,0 0-1 0 0,1 0 0 0 0,-1-1 1 0 0,0 1-1 0 0,0 0 0 0 0,0-1 1 0 0,0 1-1 0 0,0 0 0 0 0,1-1 1 0 0,-1 1-1 0 0,0 0 0 0 0,0-1 0 0 0,0 1 1 0 0,0 0-1 0 0,0-1 0 0 0,0 1 1 0 0,0 0-1 0 0,0-1 0 0 0,0 1 1 0 0,0 0-1 0 0,0-1 0 0 0,0 1 1 0 0,0 0-1 0 0,0-1 0 0 0,-1 1 1 0 0,1 0-1 0 0,0-1 0 0 0,0 1 0 0 0,0 0 1 0 0,0 0-1 0 0,-1-1 0 0 0,1 1 1 0 0,0 0-1 0 0,0 0 0 0 0,-1-1 1 0 0,1 1-1 0 0,0 0 0 0 0,0 0 1 0 0,-1-1-1 0 0,1 1 0 0 0,0 0 1 0 0,0 0-1 0 0,-1 0 0 0 0,1 0 0 0 0,0 0 1 0 0,-1 0-1 0 0,1-1 0 0 0,0 1 1 0 0,-1 0-1 0 0,1 0 0 0 0,-1 0 1 0 0,-13-1-7 0 0,0 0 1 0 0,-17 1-1 0 0,-87 4 67 0 0,-47 22-30 0 0,-42 20 21 0 0,-43 15-34 0 0,-1407 418 255 0 0,1554-447-199 0 0,90-26-89 0 0,21-7-26 0 0,41-10-95 0 0,106-35-129 0 0,73-21 240 0 0,341-97 122 0 0,483-142-76 0 0,-760 216 20 0 0,-50 11 22 0 0,-59 14-42 0 0,-62 16-94 0 0,-111 45 51 0 0,0-1 0 0 0,0-1 0 0 0,0 1 0 0 0,9-9 1 0 0,-12 4 10 0 0,-7 10 10 0 0,0-1 1 0 0,0 1-1 0 0,0 0 1 0 0,0-1-1 0 0,0 1 0 0 0,0 0 1 0 0,0 0-1 0 0,0-1 1 0 0,0 1-1 0 0,-1 0 0 0 0,1 0 1 0 0,0-1-1 0 0,0 1 1 0 0,0 0-1 0 0,0 0 0 0 0,0 0 1 0 0,-1-1-1 0 0,1 1 1 0 0,0 0-1 0 0,0 0 0 0 0,-1 0 1 0 0,1 0-1 0 0,0-1 1 0 0,0 1-1 0 0,0 0 0 0 0,-1 0 1 0 0,1 0-1 0 0,0 0 1 0 0,0 0-1 0 0,-1 0 0 0 0,-6-2 10 0 0,-1 2 1 0 0,1-1-1 0 0,-1 1 0 0 0,-12 1 0 0 0,-97 8 102 0 0,-54 22-56 0 0,-45 17-99 0 0,-642 177-26 0 0,5 21 93 0 0,775-223-19 0 0,-172 51 30 0 0,60-15-62 0 0,15-2 54 0 0,263-77-857 0 0,60-24 750 0 0,48-18 107 0 0,575-186-5 0 0,-8-26 39 0 0,-687 241-43 0 0,-74 32-16 0 0,17-12 34 0 0,-18 13-36 0 0,-1 0 0 0 0,0 0 0 0 0,0 0 0 0 0,0 0 0 0 0,0 0 1 0 0,0 0-1 0 0,0 0 0 0 0,0 0 0 0 0,0-1 0 0 0,0 1 0 0 0,0 0 1 0 0,0 0-1 0 0,1 0 0 0 0,-1 0 0 0 0,0 0 0 0 0,0 0 0 0 0,0 0 1 0 0,0-1-1 0 0,0 1 0 0 0,0 0 0 0 0,0 0 0 0 0,0 0 0 0 0,0 0 1 0 0,0 0-1 0 0,0 0 0 0 0,0-1 0 0 0,0 1 0 0 0,0 0 0 0 0,0 0 1 0 0,0 0-1 0 0,0 0 0 0 0,0 0 0 0 0,-1 0 0 0 0,1 0 0 0 0,0-1 1 0 0,0 1-1 0 0,0 0 0 0 0,0 0 0 0 0,0 0 0 0 0,0 0 0 0 0,0 0 1 0 0,0 0-1 0 0,0 0 0 0 0,0 0 0 0 0,-1 0 0 0 0,1 0 0 0 0,0 0 1 0 0,0-1-1 0 0,-16 0-19 0 0,-12 2-4 0 0,-31 4 1 0 0,-67 22 73 0 0,113-24-44 0 0,-887 238 153 0 0,17 44-7 0 0,670-210-100 0 0,55-17 6 0 0,62-20-11 0 0,67-23-23 0 0,29-15-26 0 0,0 0 1 0 0,0 0-1 0 0,0 0 0 0 0,1 0 1 0 0,-1 0-1 0 0,0 0 0 0 0,0 0 0 0 0,0 0 1 0 0,0 0-1 0 0,0 0 0 0 0,0 0 0 0 0,0 0 1 0 0,0 0-1 0 0,0 0 0 0 0,0 0 1 0 0,1 0-1 0 0,-1 0 0 0 0,0 0 0 0 0,0 0 1 0 0,0 0-1 0 0,0 0 0 0 0,0 0 1 0 0,0 0-1 0 0,0 0 0 0 0,0 0 0 0 0,0 0 1 0 0,0 0-1 0 0,0 0 0 0 0,0 0 0 0 0,1 1 1 0 0,-1-1-1 0 0,0 0 0 0 0,0 0 1 0 0,0 0-1 0 0,0 0 0 0 0,0 0 0 0 0,0 0 1 0 0,0 0-1 0 0,0 0 0 0 0,0 0 0 0 0,0 0 1 0 0,0 0-1 0 0,0 1 0 0 0,0-1 1 0 0,0 0-1 0 0,0 0 0 0 0,0 0 0 0 0,0 0 1 0 0,0 0-1 0 0,0 0 0 0 0,0 0 1 0 0,0 0-1 0 0,0 0 0 0 0,0 1 0 0 0,25-7-163 0 0,93-32-378 0 0,66-23 460 0 0,56-18 159 0 0,184-58-55 0 0,777-267 55 0 0,-1166 392-78 0 0,-5 2-36 0 0,-1-1-1 0 0,0-2 0 0 0,-1 0 0 0 0,31-21 0 0 0,-45 22-110 0 0,-13 12 145 0 0,-1 0 0 0 0,0-1 1 0 0,0 1-1 0 0,0 0 0 0 0,0 0 0 0 0,0 0 0 0 0,0 0 1 0 0,0 0-1 0 0,1-1 0 0 0,-1 1 0 0 0,0 0 1 0 0,0 0-1 0 0,0 0 0 0 0,0 0 0 0 0,0-1 1 0 0,0 1-1 0 0,0 0 0 0 0,0 0 0 0 0,0 0 1 0 0,0 0-1 0 0,0-1 0 0 0,0 1 0 0 0,0 0 0 0 0,0 0 1 0 0,0 0-1 0 0,0 0 0 0 0,0-1 0 0 0,0 1 1 0 0,0 0-1 0 0,0 0 0 0 0,0 0 0 0 0,0 0 1 0 0,-1 0-1 0 0,1-1 0 0 0,0 1 0 0 0,0 0 1 0 0,0 0-1 0 0,0 0 0 0 0,0 0 0 0 0,0 0 0 0 0,0 0 1 0 0,-1-1-1 0 0,1 1 0 0 0,-4-1-25 0 0,-1 0-1 0 0,1 1 1 0 0,-1-1-1 0 0,1 1 1 0 0,0 0-1 0 0,-6 1 1 0 0,-107 8-215 0 0,-68 26 198 0 0,-54 21 82 0 0,-711 201 101 0 0,15 39 546 0 0,719-221-514 0 0,-9 8-98 0 0,215-78-82 0 0,19-5-81 0 0,26-6-46 0 0,0-1 0 0 0,0-2 0 0 0,40-15 1 0 0,-32 10 136 0 0,163-54 109 0 0,49-16-26 0 0,-253 83-83 0 0,1681-579 16 0 0,-1651 568-4 0 0,18-5 28 0 0,-1-2-1 0 0,56-32 1 0 0,-101 49-42 0 0,-1 1-3 0 0,-1-1 1 0 0,1 1-1 0 0,0-1 0 0 0,-1 0 1 0 0,1 0-1 0 0,3-4 1 0 0,-6 6 3 0 0,0 0 1 0 0,0 0-1 0 0,0-1 1 0 0,0 1-1 0 0,0 0 0 0 0,0 0 1 0 0,0 0-1 0 0,0 0 1 0 0,0-1-1 0 0,0 1 1 0 0,0 0-1 0 0,0 0 1 0 0,0 0-1 0 0,0 0 1 0 0,0 0-1 0 0,0-1 1 0 0,-1 1-1 0 0,1 0 1 0 0,0 0-1 0 0,0 0 0 0 0,0 0 1 0 0,0 0-1 0 0,0 0 1 0 0,0-1-1 0 0,0 1 1 0 0,-1 0-1 0 0,1 0 1 0 0,0 0-1 0 0,0 0 1 0 0,0 0-1 0 0,0 0 1 0 0,0 0-1 0 0,-1 0 1 0 0,1 0-1 0 0,0 0 1 0 0,0 0-1 0 0,0 0 0 0 0,0 0 1 0 0,0 0-1 0 0,-1 0 1 0 0,1 0-1 0 0,0 0 1 0 0,0 0-1 0 0,0 0 1 0 0,-1 0-1 0 0,-21 0-28 0 0,-84 12-16 0 0,-62 25 95 0 0,-54 20 12 0 0,-872 276 67 0 0,18 48 104 0 0,852-299-254 0 0,171-63 20 0 0,-138 56 23 0 0,179-67-21 0 0,11-8-2 0 0,1 0 0 0 0,0 0 0 0 0,0 0 1 0 0,0 0-1 0 0,0 0 0 0 0,0 0 0 0 0,0 0 0 0 0,0 0 0 0 0,0 0 0 0 0,0 0 1 0 0,0 0-1 0 0,0 0 0 0 0,0 0 0 0 0,0 0 0 0 0,0 0 0 0 0,0 0 0 0 0,0 0 1 0 0,0 1-1 0 0,0-1 0 0 0,0 0 0 0 0,0 0 0 0 0,0 0 0 0 0,0 0 0 0 0,0 0 1 0 0,0 0-1 0 0,0 0 0 0 0,0 0 0 0 0,0 0 0 0 0,0 0 0 0 0,0 0 0 0 0,0 0 1 0 0,0 0-1 0 0,0 1 0 0 0,0-1 0 0 0,0 0 0 0 0,0 0 0 0 0,0 0 0 0 0,0 0 1 0 0,0 0-1 0 0,0 0 0 0 0,0 0 0 0 0,0 0 0 0 0,0 0 0 0 0,0 0 0 0 0,1 0 1 0 0,-1 0-1 0 0,0 0 0 0 0,0 0 0 0 0,0 0 0 0 0,0 0 0 0 0,0 0 0 0 0,0 0 1 0 0,0 0-1 0 0,0 0 0 0 0,0 0 0 0 0,0 0 0 0 0,0 0 0 0 0,0 0 0 0 0,0 0 0 0 0,0 0 1 0 0,1 0-1 0 0,-1 0 0 0 0,0 0 0 0 0,0 0 0 0 0,0 0 0 0 0,0 0 0 0 0,0 0 1 0 0,0 0-1 0 0,5 0-56 0 0,0 0 0 0 0,0 0 0 0 0,0-1 1 0 0,0 1-1 0 0,0-1 0 0 0,7-2 0 0 0,112-33-343 0 0,59-22 363 0 0,41-17 90 0 0,1686-618 59 0 0,-1734 623-69 0 0,-148 59-36 0 0,2-1 10 0 0,0 0 0 0 0,-1-2 0 0 0,31-21-1 0 0,-52 27 7 0 0,-9 8-24 0 0,1-1 0 0 0,0 1 1 0 0,0 0-1 0 0,0 0 1 0 0,0-1-1 0 0,0 1 0 0 0,0 0 1 0 0,-1 0-1 0 0,1 0 0 0 0,0-1 1 0 0,0 1-1 0 0,0 0 0 0 0,-1 0 1 0 0,1 0-1 0 0,0 0 0 0 0,0-1 1 0 0,0 1-1 0 0,-1 0 0 0 0,1 0 1 0 0,0 0-1 0 0,0 0 0 0 0,-1 0 1 0 0,1 0-1 0 0,0 0 0 0 0,-1 0 1 0 0,1 0-1 0 0,0 0 0 0 0,0 0 1 0 0,-1 0-1 0 0,-9-1-35 0 0,0 0 1 0 0,0 2-1 0 0,0-1 0 0 0,-10 2 0 0 0,-116 21 2 0 0,-55 23 55 0 0,-538 167 114 0 0,5 29 10 0 0,-426 166-91 0 0,981-344-41 0 0,68-26 6 0 0,96-37-30 0 0,-24 10 58 0 0,29-11-49 0 0,0 0 1 0 0,0 0-1 0 0,0 0 0 0 0,0 1 1 0 0,0-1-1 0 0,0 0 0 0 0,0 0 1 0 0,0 0-1 0 0,0 0 0 0 0,0 0 1 0 0,0 0-1 0 0,0 0 0 0 0,0 0 1 0 0,0 0-1 0 0,0 0 0 0 0,0 0 1 0 0,0 0-1 0 0,0 0 0 0 0,0 0 1 0 0,22-5-173 0 0,91-31-576 0 0,71-26 569 0 0,57-20 223 0 0,1041-363 193 0 0,-226 60-281 0 0,-1030 375 55 0 0,114-44 57 0 0,-122 47-51 0 0,-1-1-1 0 0,19-12 0 0 0,-26 10 8 0 0,-10 10-22 0 0,0 0 1 0 0,0 0-1 0 0,0 0 1 0 0,0-1-1 0 0,0 1 1 0 0,0 0-1 0 0,0 0 1 0 0,0 0 0 0 0,0 0-1 0 0,0-1 1 0 0,0 1-1 0 0,0 0 1 0 0,0 0-1 0 0,0 0 1 0 0,0 0 0 0 0,0-1-1 0 0,0 1 1 0 0,0 0-1 0 0,0 0 1 0 0,-1 0-1 0 0,1 0 1 0 0,0-1-1 0 0,0 1 1 0 0,0 0 0 0 0,0 0-1 0 0,0 0 1 0 0,0 0-1 0 0,-1 0 1 0 0,1 0-1 0 0,0 0 1 0 0,0 0 0 0 0,0-1-1 0 0,0 1 1 0 0,-1 0-1 0 0,1 0 1 0 0,0 0-1 0 0,0 0 1 0 0,-6-1 12 0 0,1 1 1 0 0,-1 0-1 0 0,1 0 0 0 0,-1 0 1 0 0,1 0-1 0 0,-8 2 0 0 0,-117 18 249 0 0,-62 24-180 0 0,-46 19-7 0 0,-737 229 146 0 0,9 30-90 0 0,663-217-152 0 0,42-11 34 0 0,52-19 27 0 0,-34 15-5 0 0,215-79-103 0 0,22-6-109 0 0,48-18-328 0 0,65-27 228 0 0,49-20 266 0 0,43-16 3 0 0,208-77 61 0 0,688-274 166 0 0,-840 305-256 0 0,-245 117 44 0 0,0-1 1 0 0,-1-1-1 0 0,10-7 0 0 0,-18 13-6 0 0,-1 1 0 0 0,1 0 0 0 0,-1-1 0 0 0,0 1-1 0 0,1-1 1 0 0,-1 1 0 0 0,1-1 0 0 0,-1 1 0 0 0,0-1-1 0 0,1 1 1 0 0,-1-1 0 0 0,0 1 0 0 0,0-1 0 0 0,1 1-1 0 0,-1-1 1 0 0,0 0 0 0 0,0 1 0 0 0,0-1 0 0 0,0 1-1 0 0,0-1 1 0 0,0-1 0 0 0,0 2-2 0 0,0 0 0 0 0,-1-1 0 0 0,1 1 0 0 0,0 0 0 0 0,0-1 0 0 0,-1 1 0 0 0,1 0 0 0 0,-1-1 0 0 0,1 1 0 0 0,0 0 0 0 0,-1 0 0 0 0,1-1 0 0 0,-1 1 0 0 0,1 0 0 0 0,-1 0 0 0 0,1 0 0 0 0,0 0 0 0 0,-1-1 0 0 0,1 1 0 0 0,-1 0 0 0 0,0 0 0 0 0,-6 0-20 0 0,0 0 0 0 0,0 0 0 0 0,-11 2 0 0 0,-92 19-40 0 0,-62 23 117 0 0,-1567 485 165 0 0,1504-450-106 0 0,232-78-117 0 0,-23 9 23 0 0,26-8-35 0 0,2-2-22 0 0,20-4-125 0 0,79-22-306 0 0,60-25 400 0 0,49-19 230 0 0,1236-438 293 0 0,-1413 496-454 0 0,-9 4-20 0 0,0-2-1 0 0,0 0 1 0 0,38-25-1 0 0,-54 28-24 0 0,-7 4-76 0 0,-4 2 79 0 0,1 1 1 0 0,0 0-1 0 0,0 0 0 0 0,-1 0 0 0 0,1 0 0 0 0,0 0 1 0 0,-1 0-1 0 0,-2 2 0 0 0,-100 19-4 0 0,-125 43 0 0 0,150-40 41 0 0,-1427 463 2 0 0,997-315 80 0 0,434-148-61 0 0,181-57-778 0 0,1113-428 925 0 0,-911 332-79 0 0,-287 120-90 0 0,-7 4-11 0 0,-1-1 1 0 0,0 0-1 0 0,0 0 0 0 0,-1-1 1 0 0,1 0-1 0 0,15-15 0 0 0,-27 22 13 0 0,-1 0 0 0 0,1 0 0 0 0,0 0 0 0 0,0 0 0 0 0,0 0-1 0 0,-1 0 1 0 0,1 0 0 0 0,0 0 0 0 0,0 0 0 0 0,0 0 0 0 0,-1 0 0 0 0,1 0 0 0 0,0 0 0 0 0,0-1 0 0 0,0 1-1 0 0,-1 0 1 0 0,1 0 0 0 0,0 0 0 0 0,0 0 0 0 0,0 0 0 0 0,0 0 0 0 0,-1-1 0 0 0,1 1 0 0 0,0 0 0 0 0,0 0-1 0 0,0 0 1 0 0,0-1 0 0 0,0 1 0 0 0,0 0 0 0 0,0 0 0 0 0,0 0 0 0 0,-1-1 0 0 0,1 1 0 0 0,0 0 0 0 0,0 0-1 0 0,0 0 1 0 0,0-1 0 0 0,0 1 0 0 0,0 0 0 0 0,0 0 0 0 0,0 0 0 0 0,0-1 0 0 0,0 1 0 0 0,0 0 0 0 0,1 0-1 0 0,-1 0 1 0 0,0-1 0 0 0,0 1 0 0 0,0 0 0 0 0,0 0 0 0 0,0 0 0 0 0,0-1 0 0 0,0 1 0 0 0,0 0 0 0 0,1 0-1 0 0,-1 0 1 0 0,0 0 0 0 0,0-1 0 0 0,0 1 0 0 0,0 0 0 0 0,1 0 0 0 0,-1 0 0 0 0,0 0 0 0 0,0 0 0 0 0,1 0-1 0 0,-19-2-80 0 0,0 2 0 0 0,0 0 0 0 0,0 1 0 0 0,1 1 0 0 0,-33 7 0 0 0,31-5 72 0 0,-426 115 95 0 0,348-89-91 0 0,-679 218 385 0 0,15 34 82 0 0,608-215-391 0 0,150-65-91 0 0,-9 4 54 0 0,13-5-119 0 0,12-3-207 0 0,238-88-399 0 0,-144 47 695 0 0,1154-462 471 0 0,-1204 480-391 0 0,-45 17-85 0 0,-14 7-4 0 0,1 1 0 0 0,0 0 0 0 0,-1 0 1 0 0,1-1-1 0 0,0 1 0 0 0,-1 0 0 0 0,1 0 0 0 0,0 1 1 0 0,-1-1-1 0 0,1 0 0 0 0,-1 0 0 0 0,1 1 0 0 0,-2 0 1 0 0,-280 76 226 0 0,187-47-187 0 0,-706 228 210 0 0,23 52 101 0 0,617-230-256 0 0,129-63-184 0 0,473-249-817 0 0,-282 151 948 0 0,420-212 32 0 0,-552 280-59 0 0,-12 6 10 0 0,0 0 0 0 0,-1 0 0 0 0,0-2 1 0 0,19-14-1 0 0,-32 23-18 0 0,-1 0-1 0 0,1 0 1 0 0,0 0 0 0 0,0 0 0 0 0,0 0 0 0 0,-1 0 0 0 0,1 0 0 0 0,0 0 0 0 0,0 0-1 0 0,0 0 1 0 0,-1 0 0 0 0,1 0 0 0 0,0 0 0 0 0,0 0 0 0 0,0-1 0 0 0,0 1 0 0 0,-1 0-1 0 0,1 0 1 0 0,0 0 0 0 0,0 0 0 0 0,0 0 0 0 0,0-1 0 0 0,0 1 0 0 0,0 0 0 0 0,-1 0 0 0 0,1 0-1 0 0,0 0 1 0 0,0-1 0 0 0,0 1 0 0 0,0 0 0 0 0,0 0 0 0 0,0 0 0 0 0,0 0 0 0 0,0-1-1 0 0,0 1 1 0 0,0 0 0 0 0,0 0 0 0 0,0 0 0 0 0,0-1 0 0 0,0 1 0 0 0,0 0 0 0 0,0 0-1 0 0,0 0 1 0 0,0-1 0 0 0,0 1 0 0 0,0 0 0 0 0,0 0 0 0 0,0 0 0 0 0,0-1 0 0 0,1 1-1 0 0,-1 0 1 0 0,0 0 0 0 0,0 0 0 0 0,0 0 0 0 0,0 0 0 0 0,0-1 0 0 0,1 1 0 0 0,-1 0-1 0 0,0 0 1 0 0,0 0 0 0 0,0 0 0 0 0,0 0 0 0 0,1 0 0 0 0,-1-1 0 0 0,-9 1-34 0 0,1 0 0 0 0,-1 0 0 0 0,-12 2 0 0 0,-32 6 110 0 0,-72 19 1 0 0,-55 27-38 0 0,137-41-29 0 0,-1103 410 636 0 0,1440-566-1233 0 0,-233 111 571 0 0,670-358 123 0 0,-683 362-118 0 0,-38 18 39 0 0,-9 5-17 0 0,-9 4-29 0 0,-19 4-1 0 0,1 1-1 0 0,-46 14 0 0 0,-57 27 156 0 0,83-29-154 0 0,-873 339 253 0 0,683-262-267 0 0,18 0 125 0 0,661-305-745 0 0,-11-33 851 0 0,-314 162-178 0 0,-110 77-22 0 0,-6 5 6 0 0,-1 0 1 0 0,1 0-1 0 0,0 0 1 0 0,-1-1 0 0 0,1 1-1 0 0,0-1 1 0 0,-1 1-1 0 0,0-1 1 0 0,1 1 0 0 0,-1-1-1 0 0,0 0 1 0 0,0 0-1 0 0,0 0 1 0 0,0 0 0 0 0,1-3-1 0 0,-2 5 1 0 0,0 0 0 0 0,0-1 0 0 0,0 1 0 0 0,0 0 0 0 0,0 0 0 0 0,0 0 0 0 0,0-1 0 0 0,-1 1 0 0 0,1 0 0 0 0,0 0-1 0 0,0-1 1 0 0,0 1 0 0 0,0 0 0 0 0,0 0 0 0 0,0 0 0 0 0,-1 0 0 0 0,1-1 0 0 0,0 1 0 0 0,0 0 0 0 0,0 0 0 0 0,-1 0 0 0 0,1 0 0 0 0,0 0 0 0 0,0-1 0 0 0,0 1 0 0 0,-1 0 0 0 0,1 0-1 0 0,0 0 1 0 0,0 0 0 0 0,0 0 0 0 0,-1 0 0 0 0,1 0 0 0 0,0 0 0 0 0,0 0 0 0 0,-1 0 0 0 0,1 0 0 0 0,0 0 0 0 0,0 0 0 0 0,-1 0 0 0 0,1 0 0 0 0,0 0 0 0 0,-17 1 91 0 0,15 0-70 0 0,-33 5-11 0 0,1 2 1 0 0,0 2-1 0 0,-60 25 0 0 0,58-21-25 0 0,-705 286 372 0 0,961-421-889 0 0,-150 80 497 0 0,177-102 221 0 0,-241 139-187 0 0,-5 4-3 0 0,0 0-1 0 0,0 0 1 0 0,0-1-1 0 0,-1 1 0 0 0,1-1 1 0 0,0 1-1 0 0,0-1 1 0 0,-1 1-1 0 0,1-1 1 0 0,0 1-1 0 0,-1-1 1 0 0,1 0-1 0 0,0 1 0 0 0,-1-1 1 0 0,1 0-1 0 0,-1 1 1 0 0,1-1-1 0 0,-1 0 1 0 0,0 0-1 0 0,1 0 1 0 0,-1 0-1 0 0,-5 0-102 0 0,-5 1 87 0 0,1 1 0 0 0,0 0 0 0 0,-1 1 0 0 0,1 0 0 0 0,-13 5 1 0 0,-48 21 188 0 0,31-11-179 0 0,-938 460 177 0 0,951-463-170 0 0,15-9-87 0 0,1 1-1 0 0,-1 0 0 0 0,-9 8 0 0 0,45-33-205 0 0,1 0 0 0 0,32-16 0 0 0,-14 8 314 0 0,258-155 277 0 0,68-43-162 0 0,-358 218-135 0 0,-10 6 0 0 0,0 0-1 0 0,0 0 1 0 0,0 0 0 0 0,0 0 0 0 0,0-1-1 0 0,0 1 1 0 0,-1 0 0 0 0,1-1-1 0 0,0 1 1 0 0,-1-1 0 0 0,1 0 0 0 0,-1 0-1 0 0,0 1 1 0 0,0-1 0 0 0,0 0-1 0 0,2-3 1 0 0,-3 4-12 0 0,-5 0-3 0 0,-12 2 30 0 0,0 1-1 0 0,1 0 1 0 0,-1 2-1 0 0,1-1 1 0 0,-16 8-1 0 0,-87 35 138 0 0,87-33-140 0 0,-339 158 104 0 0,83-36-66 0 0,277-130-41 0 0,9-4-9 0 0,0 0 0 0 0,0 0 0 0 0,0 0 0 0 0,0-1-1 0 0,0 1 1 0 0,0 0 0 0 0,0-1 0 0 0,0 0 0 0 0,0 1 0 0 0,-3-1 0 0 0,20-16-621 0 0,110-74 724 0 0,-30 23-67 0 0,-93 65-38 0 0,168-133 263 0 0,-164 130-238 0 0,-5 5-21 0 0,0-1 1 0 0,0 0-1 0 0,-1 1 1 0 0,1-1-1 0 0,0 0 0 0 0,0 1 1 0 0,-1-1-1 0 0,1 0 0 0 0,0 0 1 0 0,-1 1-1 0 0,1-1 1 0 0,-1 0-1 0 0,1 0 0 0 0,-1 0 1 0 0,1 0-1 0 0,-1 0 1 0 0,0 0-1 0 0,1 0 0 0 0,-1-1 1 0 0,-8 0 264 0 0,4 2-241 0 0,-10 1 0 0 0,0 1 1 0 0,1 0-1 0 0,-1 0 0 0 0,1 2 0 0 0,-21 7 1 0 0,-69 33 52 0 0,100-43-84 0 0,-360 181 92 0 0,357-179-92 0 0,5-3-3 0 0,0 1 0 0 0,0-1 0 0 0,0 0 0 0 0,0 1 0 0 0,0 0 0 0 0,0-1 0 0 0,0 1 0 0 0,0-1 0 0 0,0 1 0 0 0,1 0 0 0 0,-1 0 0 0 0,-1 1 0 0 0,5-6-65 0 0,-1 0 0 0 0,1 1 1 0 0,0-1-1 0 0,0 1 0 0 0,1 0 1 0 0,-1 0-1 0 0,0 0 0 0 0,7-3 1 0 0,3-4 147 0 0,12-10-51 0 0,-11 10 19 0 0,-1 0-1 0 0,0-1 0 0 0,15-18 0 0 0,-28 29-45 0 0,1-1 1 0 0,-1 1-1 0 0,1-1 0 0 0,-1 1 0 0 0,1-1 0 0 0,-1 0 1 0 0,1 1-1 0 0,-1-1 0 0 0,0 0 0 0 0,1 0 0 0 0,-1 1 1 0 0,0-1-1 0 0,0 0 0 0 0,1 0 0 0 0,-1 1 0 0 0,0-1 1 0 0,0 0-1 0 0,0 0 0 0 0,0 0 0 0 0,0 0 0 0 0,-1 0-4 0 0,1 1-1 0 0,0-1 1 0 0,-1 1-1 0 0,1-1 0 0 0,0 1 1 0 0,-1 0-1 0 0,1-1 0 0 0,-1 1 1 0 0,1-1-1 0 0,0 1 1 0 0,-1 0-1 0 0,1 0 0 0 0,-1-1 1 0 0,1 1-1 0 0,-1 0 1 0 0,1 0-1 0 0,-1-1 0 0 0,1 1 1 0 0,-1 0-1 0 0,0 0 0 0 0,0 0 1 0 0,-3 0 3 0 0,-1-1-1 0 0,0 1 1 0 0,1 0 0 0 0,-1 1-1 0 0,-7 1 1 0 0,-8 4 27 0 0,1 1 0 0 0,-1 1 1 0 0,1 1-1 0 0,1 1 0 0 0,-29 19 0 0 0,17-11-32 0 0,14-8 3 0 0,1-1 36 0 0,-22 16 0 0 0,36-24-60 0 0,3-4-249 0 0,0 0 221 0 0,0 1 1 0 0,1-1-1 0 0,-1 1 0 0 0,1-1 1 0 0,0 1-1 0 0,0 0 1 0 0,0 0-1 0 0,3-2 1 0 0,5-3 87 0 0,17-14 87 0 0,-18 14-66 0 0,-1 0 0 0 0,1 0 0 0 0,-1-1 1 0 0,16-18-1 0 0,-25 25-54 0 0,0 1 1 0 0,0 0-1 0 0,0 0 1 0 0,-1-1-1 0 0,1 1 1 0 0,0 0-1 0 0,0 0 0 0 0,0 0 1 0 0,0-1-1 0 0,0 1 1 0 0,0 0-1 0 0,0 0 0 0 0,-1 0 1 0 0,1-1-1 0 0,0 1 1 0 0,0 0-1 0 0,0 0 1 0 0,0 0-1 0 0,-1 0 0 0 0,1-1 1 0 0,0 1-1 0 0,0 0 1 0 0,0 0-1 0 0,-1 0 1 0 0,1 0-1 0 0,0 0 0 0 0,0 0 1 0 0,-1 0-1 0 0,1 0 1 0 0,0 0-1 0 0,0 0 0 0 0,-1 0 1 0 0,1 0-1 0 0,0 0 1 0 0,0 0-1 0 0,-1 0 1 0 0,1 0-1 0 0,0 0 0 0 0,0 0 1 0 0,0 0-1 0 0,-1 0 1 0 0,1 0-1 0 0,-16 0-24 0 0,14 0 22 0 0,-25 6 121 0 0,27-6-178 0 0,11-2-437 0 0,-1 1 492 0 0,1-2-1 0 0,0 1 0 0 0,-1-1 1 0 0,0-1-1 0 0,1 0 1 0 0,-1 0-1 0 0,13-9 0 0 0,1 1 40 0 0,-18 8 150 0 0,-6 1-66 0 0,-16 1-24 0 0,-29 7-58 0 0,20 3-12 0 0,0 0 0 0 0,0 2 0 0 0,1 1 0 0 0,0 1 0 0 0,1 0 0 0 0,1 2 0 0 0,0 1 0 0 0,-28 24 1 0 0,48-37-33 0 0,0 0 0 0 0,1 0 0 0 0,-1 0 0 0 0,0 1 0 0 0,1-1 0 0 0,-1 1 0 0 0,1-1 0 0 0,-2 4 0 0 0,3-5-5 0 0,0 0-1 0 0,-1 0 1 0 0,1-1-1 0 0,0 1 1 0 0,0 0-1 0 0,0 0 1 0 0,-1 0-1 0 0,1 0 1 0 0,0-1-1 0 0,0 1 1 0 0,0 0-1 0 0,0 0 1 0 0,0 0-1 0 0,0 0 0 0 0,1 0 1 0 0,-1-1-1 0 0,0 1 1 0 0,0 0-1 0 0,1 0 1 0 0,-1 0-1 0 0,0-1 1 0 0,1 1-1 0 0,-1 0 1 0 0,1 0-1 0 0,-1-1 1 0 0,1 1-1 0 0,-1 0 1 0 0,1-1-1 0 0,0 1 1 0 0,-1-1-1 0 0,1 1 1 0 0,-1-1-1 0 0,1 1 1 0 0,1 0-1 0 0,9 2-27 0 0,0 0-1 0 0,0 0 1 0 0,1-1-1 0 0,-1 0 1 0 0,0-1 0 0 0,1-1-1 0 0,20-1 1 0 0,-11 1 10 0 0,-12 0 25 0 0,44 0 25 0 0,104-12-1 0 0,137-58 184 0 0,-80 17 22 0 0,-174 47-351 0 0,-40 6 122 0 0,0-1 0 0 0,0 1 0 0 0,1 0 0 0 0,-1 0 1 0 0,0 0-1 0 0,0 0 0 0 0,0 0 0 0 0,0 0 0 0 0,0 1 1 0 0,0-1-1 0 0,0 0 0 0 0,0 0 0 0 0,0 0 0 0 0,1 0 0 0 0,-1 0 1 0 0,0 0-1 0 0,0 0 0 0 0,0 0 0 0 0,0 0 0 0 0,0 0 1 0 0,0 0-1 0 0,0 0 0 0 0,0 0 0 0 0,0 0 0 0 0,0 0 1 0 0,0 0-1 0 0,1 0 0 0 0,-1 1 0 0 0,0-1 0 0 0,0 0 1 0 0,0 0-1 0 0,0 0 0 0 0,0 0 0 0 0,0 0 0 0 0,0 0 0 0 0,0 0 1 0 0,0 0-1 0 0,0 0 0 0 0,0 1 0 0 0,0-1 0 0 0,0 0 1 0 0,0 0-1 0 0,0 0 0 0 0,0 0 0 0 0,0 0 0 0 0,0 0 1 0 0,0 0-1 0 0,0 0 0 0 0,0 1 0 0 0,0-1 0 0 0,0 0 0 0 0,0 0 1 0 0,0 0-1 0 0,0 0 0 0 0,-1 0 0 0 0,1 6 5 0 0,0 0-1 0 0,-1-1 0 0 0,0 1 1 0 0,0-1-1 0 0,0 1 1 0 0,-1-1-1 0 0,0 1 1 0 0,0-1-1 0 0,0 0 0 0 0,0 0 1 0 0,-1 0-1 0 0,0 0 1 0 0,0 0-1 0 0,-1 0 0 0 0,1-1 1 0 0,-6 5-1 0 0,-185 187 438 0 0,92-97-173 0 0,95-93-247 0 0,-15 17 51 0 0,21-21-75 0 0,0-1 0 0 0,0 0-1 0 0,0 1 1 0 0,0-1-1 0 0,0 1 1 0 0,0 0-1 0 0,0-1 1 0 0,0 1-1 0 0,1 0 1 0 0,-1-1-1 0 0,1 1 1 0 0,-1 3-1 0 0,8-4-266 0 0,10-2 200 0 0,0-1 1 0 0,0 0-1 0 0,-1-2 0 0 0,1 0 1 0 0,24-9-1 0 0,87-41 328 0 0,-100 42-207 0 0,377-194 322 0 0,-401 203-168 0 0,-10 6-125 0 0,-19 10 33 0 0,-71 46 11 0 0,3 4 0 0 0,3 4 0 0 0,-118 114 0 0 0,202-176-118 0 0,1 0 1 0 0,-1 1-1 0 0,1-1 0 0 0,0 1 1 0 0,0 1-1 0 0,1-1 1 0 0,0 1-1 0 0,0-1 0 0 0,0 1 1 0 0,-3 11-1 0 0,7-18-9 0 0,-1 1-1 0 0,1-1 1 0 0,0 1 0 0 0,0 0-1 0 0,-1-1 1 0 0,1 1 0 0 0,0-1-1 0 0,0 1 1 0 0,0 0 0 0 0,0-1-1 0 0,0 1 1 0 0,0 0 0 0 0,0-1-1 0 0,0 1 1 0 0,0 0 0 0 0,0-1-1 0 0,1 1 1 0 0,-1 0 0 0 0,0-1-1 0 0,0 1 1 0 0,1-1 0 0 0,-1 1-1 0 0,0-1 1 0 0,0 1 0 0 0,1 0-1 0 0,-1-1 1 0 0,1 1 0 0 0,-1-1-1 0 0,1 1 1 0 0,-1-1 0 0 0,1 1-1 0 0,2 0-33 0 0,-1 0 1 0 0,1-1-1 0 0,0 1 0 0 0,-1-1 1 0 0,1 0-1 0 0,-1 0 0 0 0,5 0 1 0 0,-1 0-13 0 0,20-1 7 0 0,1-1 1 0 0,-1-1-1 0 0,0-1 1 0 0,0-1-1 0 0,28-11 1 0 0,131-53 232 0 0,-172 64-189 0 0,392-188 227 0 0,-402 191-251 0 0,-8 4-166 0 0,-33 16 258 0 0,1 2-1 0 0,-51 36 1 0 0,-69 63-38 0 0,105-78-4 0 0,-1150 973-477 0 0,840-665 259 0 0,29 23 96 0 0,219-214 27 0 0,107-148 36 0 0,5-7 0 0 0,0 0 1 0 0,0 0-1 0 0,0 1 1 0 0,0-1-1 0 0,0 0 0 0 0,1 1 1 0 0,-1-1-1 0 0,1 1 1 0 0,0-1-1 0 0,0 1 1 0 0,0 0-1 0 0,0 5 1 0 0,2-7-138 0 0,4-5-29 0 0,40-30-152 0 0,43-38-1 0 0,-26 18 439 0 0,531-407 1044 0 0,-516 402-1016 0 0,-50 38-91 0 0,101-84 93 0 0,-99 74-69 0 0,-26 23-57 0 0,-6 4-56 0 0,0 3 46 0 0,0 0 0 0 0,0 0 0 0 0,0 0 0 0 0,0 0 0 0 0,0 0 0 0 0,0 1 0 0 0,0 0 0 0 0,0-1 0 0 0,-3 2 0 0 0,-39 13 197 0 0,-56 26-1 0 0,-49 33-51 0 0,126-62-113 0 0,-185 97 324 0 0,-370 262 1 0 0,536-338-246 0 0,-54 52 0 0 0,128-106-692 0 0,783-603 930 0 0,-801 613-313 0 0,82-70 79 0 0,-88 75-88 0 0,-6 5-2 0 0,1 0 0 0 0,-1 0 0 0 0,0-1 0 0 0,0 1 0 0 0,1 0 0 0 0,-1 0 0 0 0,0 0 0 0 0,0-1 0 0 0,0 1 0 0 0,0-1 0 0 0,-1 1 1 0 0,1-1-1 0 0,0 1 0 0 0,-1-1 0 0 0,1 1 0 0 0,-1-1 0 0 0,1-2 0 0 0,-10 6 117 0 0,-22 9-1 0 0,0 2 0 0 0,0 1 0 0 0,-34 23 0 0 0,-93 64-110 0 0,157-100-11 0 0,-178 129 149 0 0,-289 273-1 0 0,353-285-64 0 0,105-107-89 0 0,7-9-12 0 0,1 0 0 0 0,0 0 0 0 0,0 1 0 0 0,1-1 1 0 0,-1 0-1 0 0,0 1 0 0 0,1-1 0 0 0,-1 1 0 0 0,1 0 0 0 0,-2 4 1 0 0,399-369-818 0 0,-374 339 870 0 0,-1-1 1 0 0,33-51-1 0 0,-49 66-31 0 0,0 1 0 0 0,0-1 0 0 0,-1 0 0 0 0,0-1 0 0 0,-1 1 1 0 0,0-1-1 0 0,-1 0 0 0 0,0 1 0 0 0,0-1 0 0 0,-1 0 0 0 0,0 0 0 0 0,-1 0 1 0 0,0-13-1 0 0,-1 21-12 0 0,1 1 1 0 0,-1-1 0 0 0,1 1 0 0 0,-1-1-1 0 0,1 1 1 0 0,-1-1 0 0 0,0 1 0 0 0,0-1 0 0 0,0 1-1 0 0,0 0 1 0 0,0 0 0 0 0,0-1 0 0 0,0 1-1 0 0,0 0 1 0 0,0 0 0 0 0,0 0 0 0 0,-1 0-1 0 0,1 0 1 0 0,0 0 0 0 0,-1 1 0 0 0,1-1-1 0 0,-1 0 1 0 0,1 1 0 0 0,-1-1 0 0 0,1 1-1 0 0,-1-1 1 0 0,0 1 0 0 0,1 0 0 0 0,-3-1-1 0 0,-5 0-19 0 0,-1 1-1 0 0,1 0 1 0 0,-17 2-1 0 0,25-2 27 0 0,-8 1 3 0 0,1 0 0 0 0,0 1 0 0 0,0 0 1 0 0,0 1-1 0 0,0-1 0 0 0,0 1 0 0 0,1 1 0 0 0,-1 0 0 0 0,1 0 0 0 0,-9 7 1 0 0,-5 5 12 0 0,1 1 0 0 0,-17 20 0 0 0,33-33-13 0 0,-78 88 88 0 0,-96 138 0 0 0,139-175-52 0 0,-200 275 32 0 0,231-317-79 0 0,0-3-17 0 0,1 1 0 0 0,-7 14-1 0 0,15-22-221 0 0,5-5 115 0 0,12-5-55 0 0,29-27 208 0 0,0-2 0 0 0,47-48 0 0 0,-72 64-18 0 0,55-51 97 0 0,-4-3-1 0 0,-3-3 1 0 0,86-124 0 0 0,-151 193-96 0 0,5-7 7 0 0,0 0-1 0 0,0 0 0 0 0,-2-1 0 0 0,0 0 0 0 0,6-20 0 0 0,-12 27 13 0 0,-4 8-5 0 0,-7 12 8 0 0,1-1-17 0 0,-217 277 366 0 0,139-171-319 0 0,-4-4 0 0 0,-182 174 0 0 0,271-285-67 0 0,3-7-71 0 0,4-4 31 0 0,1-1 0 0 0,0 1 0 0 0,0 0 0 0 0,1 0 0 0 0,0 1 0 0 0,12-10 0 0 0,-3 1 61 0 0,337-385 52 0 0,-107 113-38 0 0,-235 277-16 0 0,-9 9-25 0 0,1 0 1 0 0,0 0-1 0 0,0 0 0 0 0,8-6 1 0 0,-11 10-112 0 0,-1 5-24 0 0,0 7 123 0 0,-2 0 0 0 0,0 0 0 0 0,0-1 0 0 0,-1 1 0 0 0,0-1 0 0 0,-1 1 0 0 0,-6 13 0 0 0,-47 82 199 0 0,34-65-150 0 0,-61 105 161 0 0,-140 185-1 0 0,86-139-189 0 0,122-162 24 0 0,15-29-15 0 0,-1 9-49 0 0,6-11-63 0 0,8-6-99 0 0,171-126 72 0 0,-117 82 164 0 0,331-260 320 0 0,-198 152-332 0 0,-30 27-105 0 0,-171 134 40 0 0,1 0 0 0 0,-1 0 0 0 0,0-1 0 0 0,0 1 0 0 0,0-1 0 0 0,0 1 0 0 0,-4 3 0 0 0,-173 143 159 0 0,78-69-26 0 0,-406 351 22 0 0,365-298-26 0 0,-175 211 1 0 0,279-294-48 0 0,35-45-41 0 0,0 0 0 0 0,0 1 0 0 0,0-1 0 0 0,1 1-1 0 0,0-1 1 0 0,-2 12 0 0 0,4-12-79 0 0,8-6-51 0 0,4-3 63 0 0,0-1 1 0 0,-1 0-1 0 0,1 0 1 0 0,11-9-1 0 0,51-37 89 0 0,395-325 225 0 0,-198 154 14 0 0,238-174 109 0 0,-155 123-400 0 0,-317 241-128 0 0,-65 57 61 0 0,-46 32-1 0 0,41-34 144 0 0,-210 150 203 0 0,-525 399-109 0 0,180-42-24 0 0,560-502-101 0 0,6-7-5 0 0,0 2 0 0 0,-27 37 1 0 0,40-42-61 0 0,9-18 57 0 0,0 0 0 0 0,0 0 0 0 0,0 0 0 0 0,0 0 0 0 0,0 0 0 0 0,0 1 0 0 0,0-1 0 0 0,0 0-1 0 0,1 0 1 0 0,-1 0 0 0 0,0 0 0 0 0,0 0 0 0 0,0 0 0 0 0,0 0 0 0 0,0 0 0 0 0,0 1-1 0 0,0-1 1 0 0,0 0 0 0 0,1 0 0 0 0,-1 0 0 0 0,0 0 0 0 0,0 0 0 0 0,0 0 0 0 0,0 0-1 0 0,0 0 1 0 0,0 0 0 0 0,1 0 0 0 0,-1 0 0 0 0,0 0 0 0 0,0 0 0 0 0,0 0 0 0 0,0 0-1 0 0,0 0 1 0 0,1 0 0 0 0,-1 0 0 0 0,0 0 0 0 0,0 0 0 0 0,0 0 0 0 0,0 0 0 0 0,0 0 0 0 0,0 0-1 0 0,1 0 1 0 0,-1 0 0 0 0,0 0 0 0 0,17-8-262 0 0,64-46 170 0 0,91-76 0 0 0,-103 75 192 0 0,90-71 46 0 0,208-157-17 0 0,756-454-3 0 0,-1102 728-179 0 0,-21 9 54 0 0,0 0 0 0 0,0 0 0 0 0,0 0 1 0 0,0 0-1 0 0,0 0 0 0 0,0 0 0 0 0,0 0 1 0 0,1 0-1 0 0,-1 0 0 0 0,0 0 0 0 0,0 0 1 0 0,0 0-1 0 0,0 0 0 0 0,0 1 0 0 0,0-1 1 0 0,0 0-1 0 0,0 0 0 0 0,0 0 0 0 0,0 0 1 0 0,0 0-1 0 0,0 0 0 0 0,0 0 1 0 0,0 0-1 0 0,0 0 0 0 0,0 0 0 0 0,0 1 1 0 0,0-1-1 0 0,0 0 0 0 0,0 0 0 0 0,0 0 1 0 0,0 0-1 0 0,0 0 0 0 0,0 0 0 0 0,0 0 1 0 0,0 0-1 0 0,0 0 0 0 0,0 1 0 0 0,0-1 1 0 0,0 0-1 0 0,0 0 0 0 0,0 0 1 0 0,0 0-1 0 0,0 0 0 0 0,0 0 0 0 0,0 0 1 0 0,0 0-1 0 0,0 0 0 0 0,0 0 0 0 0,0 0 1 0 0,0 1-1 0 0,0-1 0 0 0,0 0 0 0 0,-1 0 1 0 0,1 0-1 0 0,0 0 0 0 0,0 0 0 0 0,0 0 1 0 0,-12 13-154 0 0,-63 46 99 0 0,-191 123 363 0 0,74-52-203 0 0,-797 603-51 0 0,956-706-46 0 0,-309 265 144 0 0,301-250-130 0 0,36-35-36 0 0,9-8-74 0 0,39-24-311 0 0,340-248 428 0 0,-172 118 18 0 0,703-445 122 0 0,-489 330-77 0 0,-380 240-81 0 0,13-8-158 0 0,-56 38 92 0 0,-8 5-2 0 0,-37 27-61 0 0,-74 48 271 0 0,-75 43-13 0 0,-351 231-60 0 0,16 24-91 0 0,27 45 361 0 0,481-405-314 0 0,-4 1-2 0 0,2 2-1 0 0,0 0 1 0 0,-24 33 0 0 0,40-43-51 0 0,5-11 16 0 0,0 0 0 0 0,0 0 0 0 0,0 0 0 0 0,0 0-1 0 0,0 0 1 0 0,0 1 0 0 0,0-1 0 0 0,1 0 0 0 0,-1 0 0 0 0,0 0 0 0 0,0 0-1 0 0,0 0 1 0 0,0 0 0 0 0,0 1 0 0 0,0-1 0 0 0,0 0 0 0 0,0 0 0 0 0,0 0 0 0 0,1 0-1 0 0,-1 0 1 0 0,0 0 0 0 0,0 0 0 0 0,0 0 0 0 0,0 0 0 0 0,0 0 0 0 0,0 0 0 0 0,1 1-1 0 0,-1-1 1 0 0,0 0 0 0 0,0 0 0 0 0,0 0 0 0 0,0 0 0 0 0,0 0 0 0 0,1 0-1 0 0,-1 0 1 0 0,0 0 0 0 0,0 0 0 0 0,0 0 0 0 0,0 0 0 0 0,0 0 0 0 0,0-1 0 0 0,1 1-1 0 0,4-1-51 0 0,0 0 0 0 0,1-1 0 0 0,-1 0 0 0 0,0 0 0 0 0,0-1 0 0 0,7-4 0 0 0,94-58-16 0 0,396-265 416 0 0,263-164-262 0 0,-662 432-65 0 0,695-441 170 0 0,-777 490-189 0 0,2-3-25 0 0,41-34-1 0 0,-78 63 26 0 0,-1-1-1 0 0,-30 20 1 0 0,10-9 49 0 0,-446 297 101 0 0,-90 60-192 0 0,23 24 110 0 0,518-380-60 0 0,-158 133 72 0 0,143-112-64 0 0,44-44-16 0 0,-9 14-112 0 0,15-15-13 0 0,11-9-38 0 0,336-210-157 0 0,-160 97 291 0 0,1228-729 429 0 0,-1229 742-352 0 0,62-35-83 0 0,-200 116-2 0 0,-46 25-12 0 0,-9 8-70 0 0,-1 0 64 0 0,-1 0 0 0 0,0 0 0 0 0,0 0 0 0 0,0 0 0 0 0,-1-1 0 0 0,-4 4 1 0 0,-88 60 88 0 0,-682 412 123 0 0,155-99-247 0 0,24 30 175 0 0,570-389-61 0 0,6-5 18 0 0,1 1 0 0 0,-30 31 0 0 0,49-43-69 0 0,9-5-77 0 0,2-3 24 0 0,0 1 1 0 0,0-2-1 0 0,0 1 1 0 0,9-5-1 0 0,178-101 32 0 0,-149 81 67 0 0,222-132 49 0 0,727-421 120 0 0,-974 569-184 0 0,715-384 304 0 0,-575 315-337 0 0,-164 87-178 0 0,-19 11 137 0 0,-72 37 118 0 0,-273 142 121 0 0,-169 91-219 0 0,13 19 139 0 0,182-88-13 0 0,19 9 37 0 0,310-218-100 0 0,1 0-1 0 0,-15 17 0 0 0,19-17-10 0 0,9-4-91 0 0,0-6 64 0 0,1 0 1 0 0,0 0-1 0 0,0 0 0 0 0,0-1 1 0 0,0 1-1 0 0,-1 0 0 0 0,1-1 1 0 0,0 1-1 0 0,0-1 0 0 0,-1 0 1 0 0,1 0-1 0 0,2-1 0 0 0,144-76-115 0 0,-79 40 157 0 0,311-171 104 0 0,569-296 132 0 0,285-83 14 0 0,-1162 557-321 0 0,-48 24-9 0 0,-24 7 62 0 0,0 0 0 0 0,0 0 0 0 0,0 0-1 0 0,0 0 1 0 0,0 0 0 0 0,0 0 0 0 0,1 0 0 0 0,-1 0 0 0 0,0 0 0 0 0,0 0 0 0 0,0 0 0 0 0,0 0-1 0 0,0 0 1 0 0,0 0 0 0 0,0 0 0 0 0,0 0 0 0 0,0 1 0 0 0,1-1 0 0 0,-1 0 0 0 0,0 0 0 0 0,0 0-1 0 0,0 0 1 0 0,0 0 0 0 0,0 0 0 0 0,0 0 0 0 0,0 0 0 0 0,0 0 0 0 0,0 0 0 0 0,0 1 0 0 0,0-1-1 0 0,0 0 1 0 0,0 0 0 0 0,0 0 0 0 0,0 0 0 0 0,0 0 0 0 0,0 0 0 0 0,0 0 0 0 0,0 0 0 0 0,0 1-1 0 0,0-1 1 0 0,0 0 0 0 0,0 0 0 0 0,0 0 0 0 0,0 0 0 0 0,0 0 0 0 0,0 0 0 0 0,0 0 0 0 0,0 0-1 0 0,0 1 1 0 0,0-1 0 0 0,0 0 0 0 0,0 0 0 0 0,0 0 0 0 0,-10 12-92 0 0,-21 12 106 0 0,0-2 0 0 0,-1-1-1 0 0,-45 22 1 0 0,60-34 6 0 0,-523 278 31 0 0,-275 155-82 0 0,-101 119 136 0 0,890-542-102 0 0,25-19-4 0 0,1 0-1 0 0,-1 0 0 0 0,1 0 0 0 0,0 0 0 0 0,-1 1 0 0 0,1-1 1 0 0,0 0-1 0 0,-1 0 0 0 0,1 0 0 0 0,0 1 0 0 0,-1-1 0 0 0,1 0 1 0 0,0 1-1 0 0,0-1 0 0 0,-1 0 0 0 0,1 1 0 0 0,0-1 1 0 0,0 0-1 0 0,0 1 0 0 0,-1-1 0 0 0,1 0 0 0 0,0 1 0 0 0,0-1 1 0 0,0 1-1 0 0,0-1 0 0 0,0 0 0 0 0,0 1 0 0 0,0 0 0 0 0,5-1-37 0 0,0-1 0 0 0,0 1 0 0 0,0-1 0 0 0,0 0 0 0 0,0 0 0 0 0,-1 0 0 0 0,1-1 0 0 0,0 0 0 0 0,5-3 0 0 0,108-50-29 0 0,545-305 331 0 0,186-91-31 0 0,-234 173-6 0 0,-565 261-234 0 0,-44 15-104 0 0,-8 4 56 0 0,-13 6 1 0 0,-833 428 122 0 0,-27 107-82 0 0,747-456 72 0 0,192-116-416 0 0,55-38 323 0 0,47-26 152 0 0,1085-543 298 0 0,-1210 617-405 0 0,743-372 72 0 0,-595 292-173 0 0,-164 87 46 0 0,-21 11 1 0 0,-5 2-4 0 0,-36 25-47 0 0,-454 249 470 0 0,434-245-343 0 0,-180 94-12 0 0,-446 236-122 0 0,22 22 16 0 0,629-361 109 0 0,28-18-45 0 0,7-4-16 0 0,50-28-176 0 0,-48 26 203 0 0,1290-671 419 0 0,-1287 670-401 0 0,583-299 43 0 0,-567 289-93 0 0,-23 13 14 0 0,-3 2 0 0 0,-17 8-11 0 0,-767 404 290 0 0,-130 125-360 0 0,835-481 128 0 0,113-67-355 0 0,159-92 243 0 0,-45 22 192 0 0,941-463 227 0 0,-980 492-346 0 0,111-49-10 0 0,-265 129-162 0 0,-351 177 350 0 0,88-47-97 0 0,-755 452-163 0 0,937-534 96 0 0,-174 99 105 0 0,298-174-146 0 0,5-3-4 0 0,15-7-56 0 0,36-20-79 0 0,329-189 257 0 0,476-257 141 0 0,-771 430-183 0 0,271-126 76 0 0,-346 166-161 0 0,-11 4 57 0 0,0 0 1 0 0,0 0-1 0 0,0 0 1 0 0,0 0 0 0 0,0 0-1 0 0,0 0 1 0 0,0 0-1 0 0,0 0 1 0 0,0 0 0 0 0,0 0-1 0 0,0 0 1 0 0,0 0-1 0 0,0 0 1 0 0,0 0 0 0 0,0 1-1 0 0,0-1 1 0 0,0 0-1 0 0,0 0 1 0 0,0 0 0 0 0,0 0-1 0 0,0 0 1 0 0,0 0-1 0 0,0 0 1 0 0,0 0 0 0 0,0 0-1 0 0,0 0 1 0 0,0 0-1 0 0,0 0 1 0 0,0 0 0 0 0,0 0-1 0 0,0 0 1 0 0,0 0-1 0 0,0 0 1 0 0,0 0 0 0 0,0 0-1 0 0,0 0 1 0 0,0 0-1 0 0,0 0 1 0 0,0 0 0 0 0,0 0-1 0 0,0 0 1 0 0,0 0-1 0 0,0 0 1 0 0,0 0-1 0 0,1 0 1 0 0,-1 0 0 0 0,-20 13-106 0 0,-508 271 198 0 0,7 6-134 0 0,-86 46 102 0 0,581-321-44 0 0,-19 8 7 0 0,44-23-46 0 0,7-6-35 0 0,74-57 29 0 0,98-57 0 0 0,-105 72 16 0 0,395-256 118 0 0,-451 294-102 0 0,-14 9-2 0 0,0-1-1 0 0,0 0 1 0 0,0 1 0 0 0,0-2 0 0 0,0 1 0 0 0,-1 0-1 0 0,1 0 1 0 0,-1-1 0 0 0,4-4 0 0 0,-25 15-115 0 0,-324 164 295 0 0,-299 140-154 0 0,637-310-24 0 0,-97 41 28 0 0,83-36-22 0 0,0-2 1 0 0,-1 0 0 0 0,-26 3-1 0 0,28-8 24 0 0,18 0-37 0 0,-1-1-1 0 0,1 1 0 0 0,0-1 1 0 0,-1 1-1 0 0,1-1 0 0 0,-1 0 0 0 0,1 1 1 0 0,0-1-1 0 0,0 0 0 0 0,-1 1 0 0 0,1-1 1 0 0,0 0-1 0 0,0 1 0 0 0,0-1 1 0 0,0 0-1 0 0,0 1 0 0 0,0-1 0 0 0,0 0 1 0 0,0 0-1 0 0,0-1 0 0 0,1-1-14 0 0,-1-1 1 0 0,0 0-1 0 0,1 0 0 0 0,0 0 0 0 0,0 0 1 0 0,0 0-1 0 0,1 1 0 0 0,-1-1 0 0 0,1 0 1 0 0,0 1-1 0 0,0-1 0 0 0,3-3 1 0 0,4-5-8 0 0,22-21 0 0 0,-15 16 6 0 0,50-45 1 0 0,12-14 83 0 0,-76 73-64 0 0,0 2 1 0 0,-1 0-1 0 0,0 0 1 0 0,0 0 0 0 0,0 0 0 0 0,0 0-1 0 0,-1-1 1 0 0,1 1 0 0 0,0 0 0 0 0,0-1-1 0 0,-1 1 1 0 0,1-1 0 0 0,-1 1-1 0 0,1 0 1 0 0,-1-1 0 0 0,1-1 0 0 0,-2 3-2 0 0,1-1 1 0 0,0 1 0 0 0,0 0-1 0 0,-1 0 1 0 0,1 0 0 0 0,0 0-1 0 0,-1-1 1 0 0,1 1 0 0 0,0 0-1 0 0,-1 0 1 0 0,1 0 0 0 0,0 0-1 0 0,-1 0 1 0 0,1 0-1 0 0,-1 0 1 0 0,1 0 0 0 0,0 0-1 0 0,-1 0 1 0 0,1 0 0 0 0,0 0-1 0 0,-1 0 1 0 0,1 0 0 0 0,0 0-1 0 0,-1 1 1 0 0,-3-1-11 0 0,-13 3 0 0 0,0 1 0 0 0,0 0 0 0 0,1 1 0 0 0,-1 1 0 0 0,1 0 0 0 0,-25 15 0 0 0,13-7 19 0 0,-480 220 86 0 0,425-195-53 0 0,81-38-93 0 0,20-13-350 0 0,224-136 553 0 0,-241 147-181 0 0,0 0 0 0 0,0 1 1 0 0,1-1-1 0 0,-1 1 0 0 0,0 0 1 0 0,0-1-1 0 0,0 1 0 0 0,1 0 1 0 0,-1-1-1 0 0,0 1 0 0 0,1 0 1 0 0,1 0-1 0 0,10 97-11485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288"/>
    </inkml:context>
    <inkml:brush xml:id="br0">
      <inkml:brushProperty name="width" value="0.05" units="cm"/>
      <inkml:brushProperty name="height" value="0.05" units="cm"/>
      <inkml:brushProperty name="color" value="#E71224"/>
    </inkml:brush>
  </inkml:definitions>
  <inkml:trace contextRef="#ctx0" brushRef="#br0">0 0 8324 0 0,'0'0'3730'0'0,"92"0"-3122"0"0,-55 0-112 0 0,-3 0-64 0 0,0 0-192 0 0,-4 0-144 0 0,1 0-64 0 0,-8 2 16 0 0,1 0-16 0 0,-7 0-1168 0 0,-10-2-1457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972"/>
    </inkml:context>
    <inkml:brush xml:id="br0">
      <inkml:brushProperty name="width" value="0.05" units="cm"/>
      <inkml:brushProperty name="height" value="0.05" units="cm"/>
      <inkml:brushProperty name="color" value="#E71224"/>
    </inkml:brush>
  </inkml:definitions>
  <inkml:trace contextRef="#ctx0" brushRef="#br0">0 10 2001 0 0,'0'0'9434'0'0,"68"-7"-6935"0"0,87 4-1645 0 0,-94 4-1649 0 0,-67-1-4519 0 0,-16 0 2571 0 0,-10 0-2329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317"/>
    </inkml:context>
    <inkml:brush xml:id="br0">
      <inkml:brushProperty name="width" value="0.05" units="cm"/>
      <inkml:brushProperty name="height" value="0.05" units="cm"/>
      <inkml:brushProperty name="color" value="#E71224"/>
    </inkml:brush>
  </inkml:definitions>
  <inkml:trace contextRef="#ctx0" brushRef="#br0">0 0 6275 0 0,'28'6'7722'0'0,"-33"19"-7008"0"0,0-1-386 0 0,-1 22 191 0 0,3 0 1 0 0,3 64-1 0 0,1-41-444 0 0,-1-54-388 0 0,1 0 0 0 0,0-1 1 0 0,1 1-1 0 0,0 0 1 0 0,7 18-1 0 0,-8-31-484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769"/>
    </inkml:context>
    <inkml:brush xml:id="br0">
      <inkml:brushProperty name="width" value="0.05" units="cm"/>
      <inkml:brushProperty name="height" value="0.05" units="cm"/>
      <inkml:brushProperty name="color" value="#E71224"/>
    </inkml:brush>
  </inkml:definitions>
  <inkml:trace contextRef="#ctx0" brushRef="#br0">10 0 1921 0 0,'0'0'9674'0'0,"-10"0"-8949"0"0,180 10 1275 0 0,-116-5-2935 0 0,-42-5-3641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5.546"/>
    </inkml:context>
    <inkml:brush xml:id="br0">
      <inkml:brushProperty name="width" value="0.05" units="cm"/>
      <inkml:brushProperty name="height" value="0.05" units="cm"/>
      <inkml:brushProperty name="color" value="#E71224"/>
    </inkml:brush>
  </inkml:definitions>
  <inkml:trace contextRef="#ctx0" brushRef="#br0">75 92 7059 0 0,'0'0'2954'0'0,"7"0"-2914"0"0,107-1 2131 0 0,-112 1-2132 0 0,0 0 0 0 0,0 0 1 0 0,0-1-1 0 0,0 1 0 0 0,0-1 0 0 0,0 1 0 0 0,-1-1 0 0 0,1 0 0 0 0,0 0 0 0 0,0 0 1 0 0,-1 0-1 0 0,1 0 0 0 0,-1 0 0 0 0,1 0 0 0 0,-1 0 0 0 0,1-1 0 0 0,-1 1 0 0 0,0 0 0 0 0,1-1 1 0 0,-1 0-1 0 0,1-2 0 0 0,0 1 93 0 0,0-1 0 0 0,-1 0 0 0 0,0 1 1 0 0,1-1-1 0 0,-1 0 0 0 0,-1 0 0 0 0,1 0 0 0 0,-1 0 0 0 0,1-6 1 0 0,-2 9-131 0 0,1 0 0 0 0,-1 0-1 0 0,1 0 1 0 0,-1 1 0 0 0,1-1 0 0 0,-1 0 0 0 0,1 0 0 0 0,-1 1 0 0 0,0-1 0 0 0,0 0 0 0 0,1 1 0 0 0,-1-1 0 0 0,0 0 0 0 0,0 1 0 0 0,0-1 0 0 0,1 1 0 0 0,-1 0 0 0 0,0-1 0 0 0,0 1 0 0 0,0 0 0 0 0,0-1 0 0 0,0 1 0 0 0,0 0 0 0 0,0 0 0 0 0,-1 0 0 0 0,-32-5 23 0 0,28 4-11 0 0,-6-1 21 0 0,0 1 0 0 0,-1 1 0 0 0,1 0-1 0 0,-22 3 1 0 0,29-2-27 0 0,0 0 0 0 0,0 0 0 0 0,0 1-1 0 0,0 0 1 0 0,0 0 0 0 0,0 1 0 0 0,1-1-1 0 0,-1 1 1 0 0,1 0 0 0 0,-1 0 0 0 0,1 0 0 0 0,0 1-1 0 0,-4 4 1 0 0,5-4-1 0 0,0-1 0 0 0,0 1-1 0 0,0-1 1 0 0,1 1 0 0 0,-1 0 0 0 0,1 0-1 0 0,0 0 1 0 0,1 0 0 0 0,-3 7 0 0 0,2-2 4 0 0,1-1 0 0 0,0 1 0 0 0,0 17 0 0 0,2-23-13 0 0,-1 0 1 0 0,1-1-1 0 0,-1 0 0 0 0,1 1 1 0 0,0-1-1 0 0,0 1 0 0 0,0-1 1 0 0,1 0-1 0 0,-1 0 0 0 0,0 1 1 0 0,1-1-1 0 0,-1 0 0 0 0,1 0 1 0 0,0 0-1 0 0,0-1 0 0 0,0 1 0 0 0,0 0 1 0 0,0-1-1 0 0,0 1 0 0 0,0-1 1 0 0,0 0-1 0 0,1 0 0 0 0,4 2 1 0 0,4 2 15 0 0,1-1 0 0 0,0 0 0 0 0,20 4 0 0 0,-7-5-101 0 0,-1-1 0 0 0,47-2 0 0 0,-30-1-2981 0 0,-29 0-411 0 0,-2-2-2012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0.471"/>
    </inkml:context>
    <inkml:brush xml:id="br0">
      <inkml:brushProperty name="width" value="0.05" units="cm"/>
      <inkml:brushProperty name="height" value="0.05" units="cm"/>
      <inkml:brushProperty name="color" value="#E71224"/>
    </inkml:brush>
  </inkml:definitions>
  <inkml:trace contextRef="#ctx0" brushRef="#br0">154 10 5170 0 0,'0'0'3599'0'0,"-2"-9"-440"0"0,-10 9-2740 0 0,6-1-358 0 0,0 1 0 0 0,-1 0 0 0 0,1 0 0 0 0,0 1 1 0 0,-1 0-1 0 0,1 0 0 0 0,0 0 0 0 0,0 1 0 0 0,0 0 0 0 0,0 0 0 0 0,-11 6 1 0 0,13-6 9 0 0,0 1-1 0 0,0 0 1 0 0,0 1 0 0 0,1-1 0 0 0,-1 1 0 0 0,1-1 0 0 0,0 1 0 0 0,0 0 0 0 0,0 0 0 0 0,0 1 0 0 0,1-1 0 0 0,-1 1 0 0 0,1-1 0 0 0,0 1-1 0 0,1 0 1 0 0,-1-1 0 0 0,1 1 0 0 0,0 0 0 0 0,0 0 0 0 0,0 0 0 0 0,1 0 0 0 0,0 0 0 0 0,0 8 0 0 0,0-12-75 0 0,0 1 0 0 0,0 0 0 0 0,0-1 0 0 0,0 1 0 0 0,0 0 0 0 0,0-1 0 0 0,1 1 0 0 0,-1 0 0 0 0,1-1 0 0 0,-1 1 0 0 0,1-1 0 0 0,-1 1 0 0 0,1 0 0 0 0,1 1 0 0 0,-1-2 2 0 0,1 0 0 0 0,0 0 1 0 0,-1 0-1 0 0,1 0 0 0 0,-1 0 0 0 0,1-1 1 0 0,0 1-1 0 0,-1-1 0 0 0,1 1 0 0 0,0-1 1 0 0,0 1-1 0 0,3-1 0 0 0,24 4 25 0 0,42-1-1 0 0,-29-2-3742 0 0,-33-1 2310 0 0,2 0-2266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1.094"/>
    </inkml:context>
    <inkml:brush xml:id="br0">
      <inkml:brushProperty name="width" value="0.05" units="cm"/>
      <inkml:brushProperty name="height" value="0.05" units="cm"/>
      <inkml:brushProperty name="color" value="#E71224"/>
    </inkml:brush>
  </inkml:definitions>
  <inkml:trace contextRef="#ctx0" brushRef="#br0">0 1 4786 0 0,'0'0'5256'0'0,"0"7"-4181"0"0,0 25-50 0 0,1-1-1 0 0,2 1 0 0 0,9 49 1 0 0,-5-45-968 0 0,-6-21-5495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186"/>
    </inkml:context>
    <inkml:brush xml:id="br0">
      <inkml:brushProperty name="width" value="0.05" units="cm"/>
      <inkml:brushProperty name="height" value="0.05" units="cm"/>
      <inkml:brushProperty name="color" value="#E71224"/>
    </inkml:brush>
  </inkml:definitions>
  <inkml:trace contextRef="#ctx0" brushRef="#br0">0 1 5971 0 0,'0'0'5127'0'0,"0"4"-5055"0"0,0 497 6596 0 0,0-499-6670 0 0,0 0 1 0 0,0 1 0 0 0,0-1 0 0 0,0 0 0 0 0,1 1 0 0 0,-1-1 0 0 0,1 0 0 0 0,-1 0-1 0 0,1 1 1 0 0,0-1 0 0 0,0 0 0 0 0,0 0 0 0 0,0 0 0 0 0,0 0 0 0 0,0 0 0 0 0,1 0 0 0 0,2 3-1 0 0,-2-4 1 0 0,1 1-1 0 0,-1-1 0 0 0,0 0 0 0 0,1 1 0 0 0,-1-1 0 0 0,1 0 0 0 0,-1-1 1 0 0,1 1-1 0 0,0 0 0 0 0,-1-1 0 0 0,1 1 0 0 0,0-1 0 0 0,0 0 0 0 0,4 0 0 0 0,13 1-78 0 0,-12-1-211 0 0,0 1 0 0 0,0-1 0 0 0,15-2 0 0 0,-21 1-37 0 0,0 1-1 0 0,0-1 1 0 0,-1 1-1 0 0,1-1 0 0 0,0 1 1 0 0,0-1-1 0 0,-1 0 1 0 0,1 0-1 0 0,0 0 0 0 0,-1 0 1 0 0,1 0-1 0 0,-1 0 1 0 0,1-1-1 0 0,-1 1 0 0 0,0 0 1 0 0,0-1-1 0 0,1 1 1 0 0,-1-1-1 0 0,0 1 0 0 0,0-1 1 0 0,1-2-1 0 0,2-9-3641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622"/>
    </inkml:context>
    <inkml:brush xml:id="br0">
      <inkml:brushProperty name="width" value="0.05" units="cm"/>
      <inkml:brushProperty name="height" value="0.05" units="cm"/>
      <inkml:brushProperty name="color" value="#E71224"/>
    </inkml:brush>
  </inkml:definitions>
  <inkml:trace contextRef="#ctx0" brushRef="#br0">1 15 7507 0 0,'0'0'3722'0'0,"0"-1"-3698"0"0,0 1-1 0 0,0-1 1 0 0,1 1-1 0 0,-1-1 1 0 0,0 1 0 0 0,1-1-1 0 0,-1 1 1 0 0,1 0-1 0 0,-1-1 1 0 0,0 1 0 0 0,1-1-1 0 0,-1 1 1 0 0,1 0-1 0 0,-1-1 1 0 0,1 1-1 0 0,-1 0 1 0 0,1-1 0 0 0,-1 1-1 0 0,1 0 1 0 0,0 0-1 0 0,-1 0 1 0 0,1-1 0 0 0,-1 1-1 0 0,2 0 1 0 0,31-4 499 0 0,0 2 1 0 0,38 2 0 0 0,-35 0-377 0 0,1 0-2594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326"/>
    </inkml:context>
    <inkml:brush xml:id="br0">
      <inkml:brushProperty name="width" value="0.05" units="cm"/>
      <inkml:brushProperty name="height" value="0.05" units="cm"/>
      <inkml:brushProperty name="color" value="#E71224"/>
    </inkml:brush>
  </inkml:definitions>
  <inkml:trace contextRef="#ctx0" brushRef="#br0">18 4 6099 0 0,'0'0'5071'0'0,"0"-3"-4931"0"0,0 3-138 0 0,0 0 0 0 0,0 0 0 0 0,0 0 0 0 0,0 0 0 0 0,0 0 0 0 0,0 0 0 0 0,0 0 0 0 0,0 0 0 0 0,0 0 1 0 0,0 0-1 0 0,0 0 0 0 0,0 0 0 0 0,0 0 0 0 0,0 0 0 0 0,0 0 0 0 0,0 0 0 0 0,0 0 0 0 0,0 0 0 0 0,0 0 0 0 0,-1 0 0 0 0,1 0 0 0 0,0 0 0 0 0,0 0 0 0 0,0 0 1 0 0,0 0-1 0 0,0 0 0 0 0,0 0 0 0 0,0 0 0 0 0,0 0 0 0 0,0 0 0 0 0,0 0 0 0 0,0 0 0 0 0,0 0 0 0 0,0 0 0 0 0,0 0 0 0 0,0 0 0 0 0,0 0 0 0 0,0 0 0 0 0,0 0 0 0 0,0 0 1 0 0,-3 6 247 0 0,0 0 0 0 0,1 1 0 0 0,0-1 0 0 0,0 1 0 0 0,1 0 0 0 0,0-1 1 0 0,-1 8-1 0 0,2 52 608 0 0,0-38-743 0 0,0-27-115 0 0,0-1 0 0 0,0 1 0 0 0,0 0 0 0 0,1 0 0 0 0,-1-1-1 0 0,0 1 1 0 0,0 0 0 0 0,1-1 0 0 0,-1 1 0 0 0,0 0 0 0 0,1-1 0 0 0,-1 1 0 0 0,0-1-1 0 0,1 1 1 0 0,-1-1 0 0 0,1 1 0 0 0,-1-1 0 0 0,1 1 0 0 0,-1-1 0 0 0,1 1 0 0 0,0-1-1 0 0,-1 1 1 0 0,2-1 0 0 0,20 7 4 0 0,-17-6 32 0 0,1-1 1 0 0,0 0-1 0 0,-1 0 0 0 0,1 0 0 0 0,-1-1 0 0 0,7-1 0 0 0,-7 0-3 0 0,0 0-1 0 0,0-1 1 0 0,-1 1 0 0 0,1-1 0 0 0,-1 0 0 0 0,0 0 0 0 0,0-1 0 0 0,0 1 0 0 0,0-1 0 0 0,-1 0 0 0 0,5-6-1 0 0,1-2 1 0 0,0-1-1 0 0,10-21 0 0 0,-16 29-34 0 0,-1-1 1 0 0,1 1 0 0 0,-1-1 0 0 0,0 0 0 0 0,-1 1-1 0 0,0-1 1 0 0,1 0 0 0 0,-1-10 0 0 0,-1 120 460 0 0,0-101-434 0 0,1-1 0 0 0,-1 1 0 0 0,1 0 0 0 0,-1-1 0 0 0,1 1 0 0 0,0-1 0 0 0,0 1 1 0 0,0-1-1 0 0,1 1 0 0 0,-1-1 0 0 0,0 0 0 0 0,1 0 0 0 0,0 1 0 0 0,-1-1 0 0 0,1 0 0 0 0,0-1 0 0 0,0 1 1 0 0,0 0-1 0 0,0 0 0 0 0,1-1 0 0 0,2 2 0 0 0,-1 0-166 0 0,0-1 1 0 0,0 0-1 0 0,0-1 1 0 0,0 1-1 0 0,7 1 0 0 0,-8-2-486 0 0,0-1 0 0 0,1 1 0 0 0,-1-1 0 0 0,0 0-1 0 0,1 0 1 0 0,-1 0 0 0 0,4-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7/16/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49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676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693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793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0382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8248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782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593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139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042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1071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8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0419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84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47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1</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8</a:t>
            </a:fld>
            <a:endParaRPr lang="en-US"/>
          </a:p>
        </p:txBody>
      </p:sp>
    </p:spTree>
    <p:extLst>
      <p:ext uri="{BB962C8B-B14F-4D97-AF65-F5344CB8AC3E}">
        <p14:creationId xmlns:p14="http://schemas.microsoft.com/office/powerpoint/2010/main" val="3917686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9</a:t>
            </a:fld>
            <a:endParaRPr lang="en-US"/>
          </a:p>
        </p:txBody>
      </p:sp>
    </p:spTree>
    <p:extLst>
      <p:ext uri="{BB962C8B-B14F-4D97-AF65-F5344CB8AC3E}">
        <p14:creationId xmlns:p14="http://schemas.microsoft.com/office/powerpoint/2010/main" val="3256781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0</a:t>
            </a:fld>
            <a:endParaRPr lang="en-US"/>
          </a:p>
        </p:txBody>
      </p:sp>
    </p:spTree>
    <p:extLst>
      <p:ext uri="{BB962C8B-B14F-4D97-AF65-F5344CB8AC3E}">
        <p14:creationId xmlns:p14="http://schemas.microsoft.com/office/powerpoint/2010/main" val="38933779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1</a:t>
            </a:fld>
            <a:endParaRPr lang="en-US"/>
          </a:p>
        </p:txBody>
      </p:sp>
    </p:spTree>
    <p:extLst>
      <p:ext uri="{BB962C8B-B14F-4D97-AF65-F5344CB8AC3E}">
        <p14:creationId xmlns:p14="http://schemas.microsoft.com/office/powerpoint/2010/main" val="22635221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2</a:t>
            </a:fld>
            <a:endParaRPr lang="en-US"/>
          </a:p>
        </p:txBody>
      </p:sp>
    </p:spTree>
    <p:extLst>
      <p:ext uri="{BB962C8B-B14F-4D97-AF65-F5344CB8AC3E}">
        <p14:creationId xmlns:p14="http://schemas.microsoft.com/office/powerpoint/2010/main" val="24601698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3</a:t>
            </a:fld>
            <a:endParaRPr lang="en-US"/>
          </a:p>
        </p:txBody>
      </p:sp>
    </p:spTree>
    <p:extLst>
      <p:ext uri="{BB962C8B-B14F-4D97-AF65-F5344CB8AC3E}">
        <p14:creationId xmlns:p14="http://schemas.microsoft.com/office/powerpoint/2010/main" val="36463697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4</a:t>
            </a:fld>
            <a:endParaRPr lang="en-US"/>
          </a:p>
        </p:txBody>
      </p:sp>
    </p:spTree>
    <p:extLst>
      <p:ext uri="{BB962C8B-B14F-4D97-AF65-F5344CB8AC3E}">
        <p14:creationId xmlns:p14="http://schemas.microsoft.com/office/powerpoint/2010/main" val="305737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5</a:t>
            </a:fld>
            <a:endParaRPr lang="en-US"/>
          </a:p>
        </p:txBody>
      </p:sp>
    </p:spTree>
    <p:extLst>
      <p:ext uri="{BB962C8B-B14F-4D97-AF65-F5344CB8AC3E}">
        <p14:creationId xmlns:p14="http://schemas.microsoft.com/office/powerpoint/2010/main" val="23930604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6</a:t>
            </a:fld>
            <a:endParaRPr lang="en-US"/>
          </a:p>
        </p:txBody>
      </p:sp>
    </p:spTree>
    <p:extLst>
      <p:ext uri="{BB962C8B-B14F-4D97-AF65-F5344CB8AC3E}">
        <p14:creationId xmlns:p14="http://schemas.microsoft.com/office/powerpoint/2010/main" val="33731051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7</a:t>
            </a:fld>
            <a:endParaRPr lang="en-US"/>
          </a:p>
        </p:txBody>
      </p:sp>
    </p:spTree>
    <p:extLst>
      <p:ext uri="{BB962C8B-B14F-4D97-AF65-F5344CB8AC3E}">
        <p14:creationId xmlns:p14="http://schemas.microsoft.com/office/powerpoint/2010/main" val="16767799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8</a:t>
            </a:fld>
            <a:endParaRPr lang="en-US"/>
          </a:p>
        </p:txBody>
      </p:sp>
    </p:spTree>
    <p:extLst>
      <p:ext uri="{BB962C8B-B14F-4D97-AF65-F5344CB8AC3E}">
        <p14:creationId xmlns:p14="http://schemas.microsoft.com/office/powerpoint/2010/main" val="1954502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9</a:t>
            </a:fld>
            <a:endParaRPr lang="en-US"/>
          </a:p>
        </p:txBody>
      </p:sp>
    </p:spTree>
    <p:extLst>
      <p:ext uri="{BB962C8B-B14F-4D97-AF65-F5344CB8AC3E}">
        <p14:creationId xmlns:p14="http://schemas.microsoft.com/office/powerpoint/2010/main" val="346407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0</a:t>
            </a:fld>
            <a:endParaRPr lang="en-US"/>
          </a:p>
        </p:txBody>
      </p:sp>
    </p:spTree>
    <p:extLst>
      <p:ext uri="{BB962C8B-B14F-4D97-AF65-F5344CB8AC3E}">
        <p14:creationId xmlns:p14="http://schemas.microsoft.com/office/powerpoint/2010/main" val="19308737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1</a:t>
            </a:fld>
            <a:endParaRPr lang="en-US"/>
          </a:p>
        </p:txBody>
      </p:sp>
    </p:spTree>
    <p:extLst>
      <p:ext uri="{BB962C8B-B14F-4D97-AF65-F5344CB8AC3E}">
        <p14:creationId xmlns:p14="http://schemas.microsoft.com/office/powerpoint/2010/main" val="41603347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2</a:t>
            </a:fld>
            <a:endParaRPr lang="en-US"/>
          </a:p>
        </p:txBody>
      </p:sp>
    </p:spTree>
    <p:extLst>
      <p:ext uri="{BB962C8B-B14F-4D97-AF65-F5344CB8AC3E}">
        <p14:creationId xmlns:p14="http://schemas.microsoft.com/office/powerpoint/2010/main" val="42698028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3</a:t>
            </a:fld>
            <a:endParaRPr lang="en-US"/>
          </a:p>
        </p:txBody>
      </p:sp>
    </p:spTree>
    <p:extLst>
      <p:ext uri="{BB962C8B-B14F-4D97-AF65-F5344CB8AC3E}">
        <p14:creationId xmlns:p14="http://schemas.microsoft.com/office/powerpoint/2010/main" val="23250579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4</a:t>
            </a:fld>
            <a:endParaRPr lang="en-US"/>
          </a:p>
        </p:txBody>
      </p:sp>
    </p:spTree>
    <p:extLst>
      <p:ext uri="{BB962C8B-B14F-4D97-AF65-F5344CB8AC3E}">
        <p14:creationId xmlns:p14="http://schemas.microsoft.com/office/powerpoint/2010/main" val="41740698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5</a:t>
            </a:fld>
            <a:endParaRPr lang="en-US"/>
          </a:p>
        </p:txBody>
      </p:sp>
    </p:spTree>
    <p:extLst>
      <p:ext uri="{BB962C8B-B14F-4D97-AF65-F5344CB8AC3E}">
        <p14:creationId xmlns:p14="http://schemas.microsoft.com/office/powerpoint/2010/main" val="42581054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6</a:t>
            </a:fld>
            <a:endParaRPr lang="en-US"/>
          </a:p>
        </p:txBody>
      </p:sp>
    </p:spTree>
    <p:extLst>
      <p:ext uri="{BB962C8B-B14F-4D97-AF65-F5344CB8AC3E}">
        <p14:creationId xmlns:p14="http://schemas.microsoft.com/office/powerpoint/2010/main" val="34062845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7</a:t>
            </a:fld>
            <a:endParaRPr lang="en-US"/>
          </a:p>
        </p:txBody>
      </p:sp>
    </p:spTree>
    <p:extLst>
      <p:ext uri="{BB962C8B-B14F-4D97-AF65-F5344CB8AC3E}">
        <p14:creationId xmlns:p14="http://schemas.microsoft.com/office/powerpoint/2010/main" val="18432347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8</a:t>
            </a:fld>
            <a:endParaRPr lang="en-US"/>
          </a:p>
        </p:txBody>
      </p:sp>
    </p:spTree>
    <p:extLst>
      <p:ext uri="{BB962C8B-B14F-4D97-AF65-F5344CB8AC3E}">
        <p14:creationId xmlns:p14="http://schemas.microsoft.com/office/powerpoint/2010/main" val="27559519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9</a:t>
            </a:fld>
            <a:endParaRPr lang="en-US"/>
          </a:p>
        </p:txBody>
      </p:sp>
    </p:spTree>
    <p:extLst>
      <p:ext uri="{BB962C8B-B14F-4D97-AF65-F5344CB8AC3E}">
        <p14:creationId xmlns:p14="http://schemas.microsoft.com/office/powerpoint/2010/main" val="295346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0</a:t>
            </a:fld>
            <a:endParaRPr lang="en-US"/>
          </a:p>
        </p:txBody>
      </p:sp>
    </p:spTree>
    <p:extLst>
      <p:ext uri="{BB962C8B-B14F-4D97-AF65-F5344CB8AC3E}">
        <p14:creationId xmlns:p14="http://schemas.microsoft.com/office/powerpoint/2010/main" val="28653546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1</a:t>
            </a:fld>
            <a:endParaRPr lang="en-US"/>
          </a:p>
        </p:txBody>
      </p:sp>
    </p:spTree>
    <p:extLst>
      <p:ext uri="{BB962C8B-B14F-4D97-AF65-F5344CB8AC3E}">
        <p14:creationId xmlns:p14="http://schemas.microsoft.com/office/powerpoint/2010/main" val="7023458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2</a:t>
            </a:fld>
            <a:endParaRPr lang="en-US"/>
          </a:p>
        </p:txBody>
      </p:sp>
    </p:spTree>
    <p:extLst>
      <p:ext uri="{BB962C8B-B14F-4D97-AF65-F5344CB8AC3E}">
        <p14:creationId xmlns:p14="http://schemas.microsoft.com/office/powerpoint/2010/main" val="28833010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3</a:t>
            </a:fld>
            <a:endParaRPr lang="en-US"/>
          </a:p>
        </p:txBody>
      </p:sp>
    </p:spTree>
    <p:extLst>
      <p:ext uri="{BB962C8B-B14F-4D97-AF65-F5344CB8AC3E}">
        <p14:creationId xmlns:p14="http://schemas.microsoft.com/office/powerpoint/2010/main" val="16394815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4</a:t>
            </a:fld>
            <a:endParaRPr lang="en-US"/>
          </a:p>
        </p:txBody>
      </p:sp>
    </p:spTree>
    <p:extLst>
      <p:ext uri="{BB962C8B-B14F-4D97-AF65-F5344CB8AC3E}">
        <p14:creationId xmlns:p14="http://schemas.microsoft.com/office/powerpoint/2010/main" val="5672085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5</a:t>
            </a:fld>
            <a:endParaRPr lang="en-US"/>
          </a:p>
        </p:txBody>
      </p:sp>
    </p:spTree>
    <p:extLst>
      <p:ext uri="{BB962C8B-B14F-4D97-AF65-F5344CB8AC3E}">
        <p14:creationId xmlns:p14="http://schemas.microsoft.com/office/powerpoint/2010/main" val="1645586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850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724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7/16/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customXml" Target="../ink/ink5.xml"/><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customXml" Target="../ink/ink2.xml"/><Relationship Id="rId11" Type="http://schemas.openxmlformats.org/officeDocument/2006/relationships/image" Target="../media/image36.png"/><Relationship Id="rId5" Type="http://schemas.openxmlformats.org/officeDocument/2006/relationships/image" Target="../media/image33.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customXml" Target="../ink/ink8.xml"/><Relationship Id="rId3" Type="http://schemas.openxmlformats.org/officeDocument/2006/relationships/image" Target="../media/image32.png"/><Relationship Id="rId7"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customXml" Target="../ink/ink7.xml"/><Relationship Id="rId5" Type="http://schemas.openxmlformats.org/officeDocument/2006/relationships/image" Target="../media/image38.png"/><Relationship Id="rId4" Type="http://schemas.openxmlformats.org/officeDocument/2006/relationships/customXml" Target="../ink/ink6.xml"/><Relationship Id="rId9" Type="http://schemas.openxmlformats.org/officeDocument/2006/relationships/image" Target="../media/image40.png"/></Relationships>
</file>

<file path=ppt/slides/_rels/slide51.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32.png"/><Relationship Id="rId7"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customXml" Target="../ink/ink10.xml"/><Relationship Id="rId5" Type="http://schemas.openxmlformats.org/officeDocument/2006/relationships/image" Target="../media/image41.png"/><Relationship Id="rId4" Type="http://schemas.openxmlformats.org/officeDocument/2006/relationships/customXml" Target="../ink/ink9.xml"/><Relationship Id="rId9" Type="http://schemas.openxmlformats.org/officeDocument/2006/relationships/image" Target="../media/image43.png"/></Relationships>
</file>

<file path=ppt/slides/_rels/slide52.xml.rels><?xml version="1.0" encoding="UTF-8" standalone="yes"?>
<Relationships xmlns="http://schemas.openxmlformats.org/package/2006/relationships"><Relationship Id="rId8" Type="http://schemas.openxmlformats.org/officeDocument/2006/relationships/customXml" Target="../ink/ink14.xml"/><Relationship Id="rId3" Type="http://schemas.openxmlformats.org/officeDocument/2006/relationships/image" Target="../media/image32.png"/><Relationship Id="rId7" Type="http://schemas.openxmlformats.org/officeDocument/2006/relationships/image" Target="../media/image45.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customXml" Target="../ink/ink13.xml"/><Relationship Id="rId5" Type="http://schemas.openxmlformats.org/officeDocument/2006/relationships/image" Target="../media/image44.png"/><Relationship Id="rId4" Type="http://schemas.openxmlformats.org/officeDocument/2006/relationships/customXml" Target="../ink/ink12.xml"/><Relationship Id="rId9" Type="http://schemas.openxmlformats.org/officeDocument/2006/relationships/image" Target="../media/image46.png"/></Relationships>
</file>

<file path=ppt/slides/_rels/slide53.xml.rels><?xml version="1.0" encoding="UTF-8" standalone="yes"?>
<Relationships xmlns="http://schemas.openxmlformats.org/package/2006/relationships"><Relationship Id="rId8" Type="http://schemas.openxmlformats.org/officeDocument/2006/relationships/customXml" Target="../ink/ink17.xml"/><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customXml" Target="../ink/ink16.xml"/><Relationship Id="rId5" Type="http://schemas.openxmlformats.org/officeDocument/2006/relationships/image" Target="../media/image47.png"/><Relationship Id="rId4" Type="http://schemas.openxmlformats.org/officeDocument/2006/relationships/customXml" Target="../ink/ink15.xml"/><Relationship Id="rId9" Type="http://schemas.openxmlformats.org/officeDocument/2006/relationships/image" Target="../media/image49.png"/></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customXml" Target="../ink/ink19.xml"/><Relationship Id="rId5" Type="http://schemas.openxmlformats.org/officeDocument/2006/relationships/image" Target="../media/image47.png"/><Relationship Id="rId4" Type="http://schemas.openxmlformats.org/officeDocument/2006/relationships/customXml" Target="../ink/ink18.xml"/></Relationships>
</file>

<file path=ppt/slides/_rels/slide55.xml.rels><?xml version="1.0" encoding="UTF-8" standalone="yes"?>
<Relationships xmlns="http://schemas.openxmlformats.org/package/2006/relationships"><Relationship Id="rId8" Type="http://schemas.openxmlformats.org/officeDocument/2006/relationships/customXml" Target="../ink/ink22.xml"/><Relationship Id="rId13" Type="http://schemas.openxmlformats.org/officeDocument/2006/relationships/image" Target="../media/image54.png"/><Relationship Id="rId3" Type="http://schemas.openxmlformats.org/officeDocument/2006/relationships/image" Target="../media/image32.png"/><Relationship Id="rId7" Type="http://schemas.openxmlformats.org/officeDocument/2006/relationships/image" Target="../media/image51.png"/><Relationship Id="rId12" Type="http://schemas.openxmlformats.org/officeDocument/2006/relationships/customXml" Target="../ink/ink24.xml"/><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customXml" Target="../ink/ink21.xml"/><Relationship Id="rId11" Type="http://schemas.openxmlformats.org/officeDocument/2006/relationships/image" Target="../media/image53.png"/><Relationship Id="rId5" Type="http://schemas.openxmlformats.org/officeDocument/2006/relationships/image" Target="../media/image50.png"/><Relationship Id="rId10" Type="http://schemas.openxmlformats.org/officeDocument/2006/relationships/customXml" Target="../ink/ink23.xml"/><Relationship Id="rId4" Type="http://schemas.openxmlformats.org/officeDocument/2006/relationships/customXml" Target="../ink/ink20.xml"/><Relationship Id="rId9" Type="http://schemas.openxmlformats.org/officeDocument/2006/relationships/image" Target="../media/image52.png"/></Relationships>
</file>

<file path=ppt/slides/_rels/slide56.xml.rels><?xml version="1.0" encoding="UTF-8" standalone="yes"?>
<Relationships xmlns="http://schemas.openxmlformats.org/package/2006/relationships"><Relationship Id="rId8" Type="http://schemas.openxmlformats.org/officeDocument/2006/relationships/customXml" Target="../ink/ink27.xml"/><Relationship Id="rId13" Type="http://schemas.openxmlformats.org/officeDocument/2006/relationships/image" Target="../media/image59.png"/><Relationship Id="rId3" Type="http://schemas.openxmlformats.org/officeDocument/2006/relationships/image" Target="../media/image32.png"/><Relationship Id="rId7" Type="http://schemas.openxmlformats.org/officeDocument/2006/relationships/image" Target="../media/image56.png"/><Relationship Id="rId12" Type="http://schemas.openxmlformats.org/officeDocument/2006/relationships/customXml" Target="../ink/ink29.xml"/><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ustomXml" Target="../ink/ink26.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28.xml"/><Relationship Id="rId4" Type="http://schemas.openxmlformats.org/officeDocument/2006/relationships/customXml" Target="../ink/ink25.xml"/><Relationship Id="rId9" Type="http://schemas.openxmlformats.org/officeDocument/2006/relationships/image" Target="../media/image57.png"/></Relationships>
</file>

<file path=ppt/slides/_rels/slide57.xml.rels><?xml version="1.0" encoding="UTF-8" standalone="yes"?>
<Relationships xmlns="http://schemas.openxmlformats.org/package/2006/relationships"><Relationship Id="rId8" Type="http://schemas.openxmlformats.org/officeDocument/2006/relationships/customXml" Target="../ink/ink32.xml"/><Relationship Id="rId3" Type="http://schemas.openxmlformats.org/officeDocument/2006/relationships/image" Target="../media/image32.png"/><Relationship Id="rId7" Type="http://schemas.openxmlformats.org/officeDocument/2006/relationships/image" Target="../media/image56.png"/><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customXml" Target="../ink/ink31.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33.xml"/><Relationship Id="rId4" Type="http://schemas.openxmlformats.org/officeDocument/2006/relationships/customXml" Target="../ink/ink30.xml"/><Relationship Id="rId9" Type="http://schemas.openxmlformats.org/officeDocument/2006/relationships/image" Target="../media/image57.png"/></Relationships>
</file>

<file path=ppt/slides/_rels/slide5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5.xml"/><Relationship Id="rId6" Type="http://schemas.openxmlformats.org/officeDocument/2006/relationships/customXml" Target="../ink/ink35.xml"/><Relationship Id="rId5" Type="http://schemas.openxmlformats.org/officeDocument/2006/relationships/image" Target="../media/image60.png"/><Relationship Id="rId4" Type="http://schemas.openxmlformats.org/officeDocument/2006/relationships/customXml" Target="../ink/ink34.xml"/></Relationships>
</file>

<file path=ppt/slides/_rels/slide5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3.png"/><Relationship Id="rId2" Type="http://schemas.openxmlformats.org/officeDocument/2006/relationships/notesSlide" Target="../notesSlides/notesSlide59.xml"/><Relationship Id="rId1" Type="http://schemas.openxmlformats.org/officeDocument/2006/relationships/slideLayout" Target="../slideLayouts/slideLayout5.xml"/><Relationship Id="rId6" Type="http://schemas.openxmlformats.org/officeDocument/2006/relationships/customXml" Target="../ink/ink37.xml"/><Relationship Id="rId5" Type="http://schemas.openxmlformats.org/officeDocument/2006/relationships/image" Target="../media/image62.png"/><Relationship Id="rId4" Type="http://schemas.openxmlformats.org/officeDocument/2006/relationships/customXml" Target="../ink/ink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5.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customXml" Target="../ink/ink39.xml"/><Relationship Id="rId5" Type="http://schemas.openxmlformats.org/officeDocument/2006/relationships/image" Target="../media/image64.png"/><Relationship Id="rId4" Type="http://schemas.openxmlformats.org/officeDocument/2006/relationships/customXml" Target="../ink/ink38.xml"/></Relationships>
</file>

<file path=ppt/slides/_rels/slide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customXml" Target="../ink/ink40.xml"/></Relationships>
</file>

<file path=ppt/slides/_rels/slide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customXml" Target="../ink/ink41.xml"/></Relationships>
</file>

<file path=ppt/slides/_rels/slide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5.xml"/><Relationship Id="rId5" Type="http://schemas.openxmlformats.org/officeDocument/2006/relationships/image" Target="../media/image67.png"/><Relationship Id="rId4" Type="http://schemas.openxmlformats.org/officeDocument/2006/relationships/customXml" Target="../ink/ink42.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6" Type="http://schemas.openxmlformats.org/officeDocument/2006/relationships/customXml" Target="../ink/ink54.xml"/><Relationship Id="rId21" Type="http://schemas.openxmlformats.org/officeDocument/2006/relationships/image" Target="../media/image76.png"/><Relationship Id="rId34" Type="http://schemas.openxmlformats.org/officeDocument/2006/relationships/customXml" Target="../ink/ink58.xml"/><Relationship Id="rId42" Type="http://schemas.openxmlformats.org/officeDocument/2006/relationships/customXml" Target="../ink/ink62.xml"/><Relationship Id="rId47" Type="http://schemas.openxmlformats.org/officeDocument/2006/relationships/image" Target="../media/image89.png"/><Relationship Id="rId50" Type="http://schemas.openxmlformats.org/officeDocument/2006/relationships/customXml" Target="../ink/ink66.xml"/><Relationship Id="rId55" Type="http://schemas.openxmlformats.org/officeDocument/2006/relationships/image" Target="../media/image93.png"/><Relationship Id="rId63" Type="http://schemas.openxmlformats.org/officeDocument/2006/relationships/image" Target="../media/image97.png"/><Relationship Id="rId7" Type="http://schemas.openxmlformats.org/officeDocument/2006/relationships/image" Target="../media/image69.png"/><Relationship Id="rId2" Type="http://schemas.openxmlformats.org/officeDocument/2006/relationships/notesSlide" Target="../notesSlides/notesSlide65.xml"/><Relationship Id="rId16" Type="http://schemas.openxmlformats.org/officeDocument/2006/relationships/customXml" Target="../ink/ink49.xml"/><Relationship Id="rId29" Type="http://schemas.openxmlformats.org/officeDocument/2006/relationships/image" Target="../media/image80.png"/><Relationship Id="rId11" Type="http://schemas.openxmlformats.org/officeDocument/2006/relationships/image" Target="../media/image71.png"/><Relationship Id="rId24" Type="http://schemas.openxmlformats.org/officeDocument/2006/relationships/customXml" Target="../ink/ink53.xml"/><Relationship Id="rId32" Type="http://schemas.openxmlformats.org/officeDocument/2006/relationships/customXml" Target="../ink/ink57.xml"/><Relationship Id="rId37" Type="http://schemas.openxmlformats.org/officeDocument/2006/relationships/image" Target="../media/image84.png"/><Relationship Id="rId40" Type="http://schemas.openxmlformats.org/officeDocument/2006/relationships/customXml" Target="../ink/ink61.xml"/><Relationship Id="rId45" Type="http://schemas.openxmlformats.org/officeDocument/2006/relationships/image" Target="../media/image88.png"/><Relationship Id="rId53" Type="http://schemas.openxmlformats.org/officeDocument/2006/relationships/image" Target="../media/image92.png"/><Relationship Id="rId58" Type="http://schemas.openxmlformats.org/officeDocument/2006/relationships/customXml" Target="../ink/ink70.xml"/><Relationship Id="rId5" Type="http://schemas.openxmlformats.org/officeDocument/2006/relationships/image" Target="../media/image68.png"/><Relationship Id="rId61" Type="http://schemas.openxmlformats.org/officeDocument/2006/relationships/image" Target="../media/image96.png"/><Relationship Id="rId19" Type="http://schemas.openxmlformats.org/officeDocument/2006/relationships/image" Target="../media/image75.png"/><Relationship Id="rId14" Type="http://schemas.openxmlformats.org/officeDocument/2006/relationships/customXml" Target="../ink/ink48.xml"/><Relationship Id="rId22" Type="http://schemas.openxmlformats.org/officeDocument/2006/relationships/customXml" Target="../ink/ink52.xml"/><Relationship Id="rId27" Type="http://schemas.openxmlformats.org/officeDocument/2006/relationships/image" Target="../media/image79.png"/><Relationship Id="rId30" Type="http://schemas.openxmlformats.org/officeDocument/2006/relationships/customXml" Target="../ink/ink56.xml"/><Relationship Id="rId35" Type="http://schemas.openxmlformats.org/officeDocument/2006/relationships/image" Target="../media/image83.png"/><Relationship Id="rId43" Type="http://schemas.openxmlformats.org/officeDocument/2006/relationships/image" Target="../media/image87.png"/><Relationship Id="rId48" Type="http://schemas.openxmlformats.org/officeDocument/2006/relationships/customXml" Target="../ink/ink65.xml"/><Relationship Id="rId56" Type="http://schemas.openxmlformats.org/officeDocument/2006/relationships/customXml" Target="../ink/ink69.xml"/><Relationship Id="rId64" Type="http://schemas.openxmlformats.org/officeDocument/2006/relationships/customXml" Target="../ink/ink73.xml"/><Relationship Id="rId8" Type="http://schemas.openxmlformats.org/officeDocument/2006/relationships/customXml" Target="../ink/ink45.xml"/><Relationship Id="rId51" Type="http://schemas.openxmlformats.org/officeDocument/2006/relationships/image" Target="../media/image91.png"/><Relationship Id="rId3" Type="http://schemas.openxmlformats.org/officeDocument/2006/relationships/image" Target="../media/image32.png"/><Relationship Id="rId12" Type="http://schemas.openxmlformats.org/officeDocument/2006/relationships/customXml" Target="../ink/ink47.xml"/><Relationship Id="rId17" Type="http://schemas.openxmlformats.org/officeDocument/2006/relationships/image" Target="../media/image74.png"/><Relationship Id="rId25" Type="http://schemas.openxmlformats.org/officeDocument/2006/relationships/image" Target="../media/image78.png"/><Relationship Id="rId33" Type="http://schemas.openxmlformats.org/officeDocument/2006/relationships/image" Target="../media/image82.png"/><Relationship Id="rId38" Type="http://schemas.openxmlformats.org/officeDocument/2006/relationships/customXml" Target="../ink/ink60.xml"/><Relationship Id="rId46" Type="http://schemas.openxmlformats.org/officeDocument/2006/relationships/customXml" Target="../ink/ink64.xml"/><Relationship Id="rId59" Type="http://schemas.openxmlformats.org/officeDocument/2006/relationships/image" Target="../media/image95.png"/><Relationship Id="rId20" Type="http://schemas.openxmlformats.org/officeDocument/2006/relationships/customXml" Target="../ink/ink51.xml"/><Relationship Id="rId41" Type="http://schemas.openxmlformats.org/officeDocument/2006/relationships/image" Target="../media/image86.png"/><Relationship Id="rId54" Type="http://schemas.openxmlformats.org/officeDocument/2006/relationships/customXml" Target="../ink/ink68.xml"/><Relationship Id="rId62" Type="http://schemas.openxmlformats.org/officeDocument/2006/relationships/customXml" Target="../ink/ink72.xml"/><Relationship Id="rId1" Type="http://schemas.openxmlformats.org/officeDocument/2006/relationships/slideLayout" Target="../slideLayouts/slideLayout5.xml"/><Relationship Id="rId6" Type="http://schemas.openxmlformats.org/officeDocument/2006/relationships/customXml" Target="../ink/ink44.xml"/><Relationship Id="rId15" Type="http://schemas.openxmlformats.org/officeDocument/2006/relationships/image" Target="../media/image73.png"/><Relationship Id="rId23" Type="http://schemas.openxmlformats.org/officeDocument/2006/relationships/image" Target="../media/image77.png"/><Relationship Id="rId28" Type="http://schemas.openxmlformats.org/officeDocument/2006/relationships/customXml" Target="../ink/ink55.xml"/><Relationship Id="rId36" Type="http://schemas.openxmlformats.org/officeDocument/2006/relationships/customXml" Target="../ink/ink59.xml"/><Relationship Id="rId49" Type="http://schemas.openxmlformats.org/officeDocument/2006/relationships/image" Target="../media/image90.png"/><Relationship Id="rId57" Type="http://schemas.openxmlformats.org/officeDocument/2006/relationships/image" Target="../media/image94.png"/><Relationship Id="rId10" Type="http://schemas.openxmlformats.org/officeDocument/2006/relationships/customXml" Target="../ink/ink46.xml"/><Relationship Id="rId31" Type="http://schemas.openxmlformats.org/officeDocument/2006/relationships/image" Target="../media/image81.png"/><Relationship Id="rId44" Type="http://schemas.openxmlformats.org/officeDocument/2006/relationships/customXml" Target="../ink/ink63.xml"/><Relationship Id="rId52" Type="http://schemas.openxmlformats.org/officeDocument/2006/relationships/customXml" Target="../ink/ink67.xml"/><Relationship Id="rId60" Type="http://schemas.openxmlformats.org/officeDocument/2006/relationships/customXml" Target="../ink/ink71.xml"/><Relationship Id="rId65" Type="http://schemas.openxmlformats.org/officeDocument/2006/relationships/image" Target="../media/image98.png"/><Relationship Id="rId4" Type="http://schemas.openxmlformats.org/officeDocument/2006/relationships/customXml" Target="../ink/ink43.xml"/><Relationship Id="rId9" Type="http://schemas.openxmlformats.org/officeDocument/2006/relationships/image" Target="../media/image70.png"/><Relationship Id="rId13" Type="http://schemas.openxmlformats.org/officeDocument/2006/relationships/image" Target="../media/image72.png"/><Relationship Id="rId18" Type="http://schemas.openxmlformats.org/officeDocument/2006/relationships/customXml" Target="../ink/ink50.xml"/><Relationship Id="rId39" Type="http://schemas.openxmlformats.org/officeDocument/2006/relationships/image" Target="../media/image85.png"/></Relationships>
</file>

<file path=ppt/slides/_rels/slide66.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customXml" Target="../ink/ink81.xml"/><Relationship Id="rId26" Type="http://schemas.openxmlformats.org/officeDocument/2006/relationships/customXml" Target="../ink/ink85.xml"/><Relationship Id="rId39" Type="http://schemas.openxmlformats.org/officeDocument/2006/relationships/image" Target="../media/image116.png"/><Relationship Id="rId21" Type="http://schemas.openxmlformats.org/officeDocument/2006/relationships/image" Target="../media/image107.png"/><Relationship Id="rId34" Type="http://schemas.openxmlformats.org/officeDocument/2006/relationships/customXml" Target="../ink/ink89.xml"/><Relationship Id="rId42" Type="http://schemas.openxmlformats.org/officeDocument/2006/relationships/customXml" Target="../ink/ink93.xml"/><Relationship Id="rId47" Type="http://schemas.openxmlformats.org/officeDocument/2006/relationships/image" Target="../media/image120.png"/><Relationship Id="rId50" Type="http://schemas.openxmlformats.org/officeDocument/2006/relationships/customXml" Target="../ink/ink97.xml"/><Relationship Id="rId55" Type="http://schemas.openxmlformats.org/officeDocument/2006/relationships/image" Target="../media/image124.png"/><Relationship Id="rId7" Type="http://schemas.openxmlformats.org/officeDocument/2006/relationships/image" Target="../media/image100.png"/><Relationship Id="rId2" Type="http://schemas.openxmlformats.org/officeDocument/2006/relationships/notesSlide" Target="../notesSlides/notesSlide66.xml"/><Relationship Id="rId16" Type="http://schemas.openxmlformats.org/officeDocument/2006/relationships/customXml" Target="../ink/ink80.xml"/><Relationship Id="rId29" Type="http://schemas.openxmlformats.org/officeDocument/2006/relationships/image" Target="../media/image111.png"/><Relationship Id="rId11" Type="http://schemas.openxmlformats.org/officeDocument/2006/relationships/image" Target="../media/image102.png"/><Relationship Id="rId24" Type="http://schemas.openxmlformats.org/officeDocument/2006/relationships/customXml" Target="../ink/ink84.xml"/><Relationship Id="rId32" Type="http://schemas.openxmlformats.org/officeDocument/2006/relationships/customXml" Target="../ink/ink88.xml"/><Relationship Id="rId37" Type="http://schemas.openxmlformats.org/officeDocument/2006/relationships/image" Target="../media/image115.png"/><Relationship Id="rId40" Type="http://schemas.openxmlformats.org/officeDocument/2006/relationships/customXml" Target="../ink/ink92.xml"/><Relationship Id="rId45" Type="http://schemas.openxmlformats.org/officeDocument/2006/relationships/image" Target="../media/image119.png"/><Relationship Id="rId53" Type="http://schemas.openxmlformats.org/officeDocument/2006/relationships/image" Target="../media/image123.png"/><Relationship Id="rId58" Type="http://schemas.openxmlformats.org/officeDocument/2006/relationships/customXml" Target="../ink/ink101.xml"/><Relationship Id="rId5" Type="http://schemas.openxmlformats.org/officeDocument/2006/relationships/image" Target="../media/image99.png"/><Relationship Id="rId19" Type="http://schemas.openxmlformats.org/officeDocument/2006/relationships/image" Target="../media/image106.png"/><Relationship Id="rId4" Type="http://schemas.openxmlformats.org/officeDocument/2006/relationships/customXml" Target="../ink/ink74.xml"/><Relationship Id="rId9" Type="http://schemas.openxmlformats.org/officeDocument/2006/relationships/image" Target="../media/image101.png"/><Relationship Id="rId14" Type="http://schemas.openxmlformats.org/officeDocument/2006/relationships/customXml" Target="../ink/ink79.xml"/><Relationship Id="rId22" Type="http://schemas.openxmlformats.org/officeDocument/2006/relationships/customXml" Target="../ink/ink83.xml"/><Relationship Id="rId27" Type="http://schemas.openxmlformats.org/officeDocument/2006/relationships/image" Target="../media/image110.png"/><Relationship Id="rId30" Type="http://schemas.openxmlformats.org/officeDocument/2006/relationships/customXml" Target="../ink/ink87.xml"/><Relationship Id="rId35" Type="http://schemas.openxmlformats.org/officeDocument/2006/relationships/image" Target="../media/image114.png"/><Relationship Id="rId43" Type="http://schemas.openxmlformats.org/officeDocument/2006/relationships/image" Target="../media/image118.png"/><Relationship Id="rId48" Type="http://schemas.openxmlformats.org/officeDocument/2006/relationships/customXml" Target="../ink/ink96.xml"/><Relationship Id="rId56" Type="http://schemas.openxmlformats.org/officeDocument/2006/relationships/customXml" Target="../ink/ink100.xml"/><Relationship Id="rId8" Type="http://schemas.openxmlformats.org/officeDocument/2006/relationships/customXml" Target="../ink/ink76.xml"/><Relationship Id="rId51" Type="http://schemas.openxmlformats.org/officeDocument/2006/relationships/image" Target="../media/image122.png"/><Relationship Id="rId3" Type="http://schemas.openxmlformats.org/officeDocument/2006/relationships/image" Target="../media/image32.png"/><Relationship Id="rId12" Type="http://schemas.openxmlformats.org/officeDocument/2006/relationships/customXml" Target="../ink/ink78.xml"/><Relationship Id="rId17" Type="http://schemas.openxmlformats.org/officeDocument/2006/relationships/image" Target="../media/image105.png"/><Relationship Id="rId25" Type="http://schemas.openxmlformats.org/officeDocument/2006/relationships/image" Target="../media/image109.png"/><Relationship Id="rId33" Type="http://schemas.openxmlformats.org/officeDocument/2006/relationships/image" Target="../media/image113.png"/><Relationship Id="rId38" Type="http://schemas.openxmlformats.org/officeDocument/2006/relationships/customXml" Target="../ink/ink91.xml"/><Relationship Id="rId46" Type="http://schemas.openxmlformats.org/officeDocument/2006/relationships/customXml" Target="../ink/ink95.xml"/><Relationship Id="rId59" Type="http://schemas.openxmlformats.org/officeDocument/2006/relationships/image" Target="../media/image126.png"/><Relationship Id="rId20" Type="http://schemas.openxmlformats.org/officeDocument/2006/relationships/customXml" Target="../ink/ink82.xml"/><Relationship Id="rId41" Type="http://schemas.openxmlformats.org/officeDocument/2006/relationships/image" Target="../media/image117.png"/><Relationship Id="rId54" Type="http://schemas.openxmlformats.org/officeDocument/2006/relationships/customXml" Target="../ink/ink99.xml"/><Relationship Id="rId1" Type="http://schemas.openxmlformats.org/officeDocument/2006/relationships/slideLayout" Target="../slideLayouts/slideLayout5.xml"/><Relationship Id="rId6" Type="http://schemas.openxmlformats.org/officeDocument/2006/relationships/customXml" Target="../ink/ink75.xml"/><Relationship Id="rId15" Type="http://schemas.openxmlformats.org/officeDocument/2006/relationships/image" Target="../media/image104.png"/><Relationship Id="rId23" Type="http://schemas.openxmlformats.org/officeDocument/2006/relationships/image" Target="../media/image108.png"/><Relationship Id="rId28" Type="http://schemas.openxmlformats.org/officeDocument/2006/relationships/customXml" Target="../ink/ink86.xml"/><Relationship Id="rId36" Type="http://schemas.openxmlformats.org/officeDocument/2006/relationships/customXml" Target="../ink/ink90.xml"/><Relationship Id="rId49" Type="http://schemas.openxmlformats.org/officeDocument/2006/relationships/image" Target="../media/image121.png"/><Relationship Id="rId57" Type="http://schemas.openxmlformats.org/officeDocument/2006/relationships/image" Target="../media/image125.png"/><Relationship Id="rId10" Type="http://schemas.openxmlformats.org/officeDocument/2006/relationships/customXml" Target="../ink/ink77.xml"/><Relationship Id="rId31" Type="http://schemas.openxmlformats.org/officeDocument/2006/relationships/image" Target="../media/image112.png"/><Relationship Id="rId44" Type="http://schemas.openxmlformats.org/officeDocument/2006/relationships/customXml" Target="../ink/ink94.xml"/><Relationship Id="rId52" Type="http://schemas.openxmlformats.org/officeDocument/2006/relationships/customXml" Target="../ink/ink98.xml"/></Relationships>
</file>

<file path=ppt/slides/_rels/slide67.xml.rels><?xml version="1.0" encoding="UTF-8" standalone="yes"?>
<Relationships xmlns="http://schemas.openxmlformats.org/package/2006/relationships"><Relationship Id="rId13" Type="http://schemas.openxmlformats.org/officeDocument/2006/relationships/image" Target="../media/image131.png"/><Relationship Id="rId18" Type="http://schemas.openxmlformats.org/officeDocument/2006/relationships/customXml" Target="../ink/ink109.xml"/><Relationship Id="rId26" Type="http://schemas.openxmlformats.org/officeDocument/2006/relationships/customXml" Target="../ink/ink113.xml"/><Relationship Id="rId3" Type="http://schemas.openxmlformats.org/officeDocument/2006/relationships/image" Target="../media/image32.png"/><Relationship Id="rId21" Type="http://schemas.openxmlformats.org/officeDocument/2006/relationships/image" Target="../media/image135.png"/><Relationship Id="rId34" Type="http://schemas.openxmlformats.org/officeDocument/2006/relationships/customXml" Target="../ink/ink117.xml"/><Relationship Id="rId7" Type="http://schemas.openxmlformats.org/officeDocument/2006/relationships/image" Target="../media/image128.png"/><Relationship Id="rId12" Type="http://schemas.openxmlformats.org/officeDocument/2006/relationships/customXml" Target="../ink/ink106.xml"/><Relationship Id="rId17" Type="http://schemas.openxmlformats.org/officeDocument/2006/relationships/image" Target="../media/image133.png"/><Relationship Id="rId25" Type="http://schemas.openxmlformats.org/officeDocument/2006/relationships/image" Target="../media/image137.png"/><Relationship Id="rId33" Type="http://schemas.openxmlformats.org/officeDocument/2006/relationships/image" Target="../media/image141.png"/><Relationship Id="rId2" Type="http://schemas.openxmlformats.org/officeDocument/2006/relationships/notesSlide" Target="../notesSlides/notesSlide67.xml"/><Relationship Id="rId16" Type="http://schemas.openxmlformats.org/officeDocument/2006/relationships/customXml" Target="../ink/ink108.xml"/><Relationship Id="rId20" Type="http://schemas.openxmlformats.org/officeDocument/2006/relationships/customXml" Target="../ink/ink110.xml"/><Relationship Id="rId29"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customXml" Target="../ink/ink103.xml"/><Relationship Id="rId11" Type="http://schemas.openxmlformats.org/officeDocument/2006/relationships/image" Target="../media/image130.png"/><Relationship Id="rId24" Type="http://schemas.openxmlformats.org/officeDocument/2006/relationships/customXml" Target="../ink/ink112.xml"/><Relationship Id="rId32" Type="http://schemas.openxmlformats.org/officeDocument/2006/relationships/customXml" Target="../ink/ink116.xml"/><Relationship Id="rId5" Type="http://schemas.openxmlformats.org/officeDocument/2006/relationships/image" Target="../media/image127.png"/><Relationship Id="rId15" Type="http://schemas.openxmlformats.org/officeDocument/2006/relationships/image" Target="../media/image132.png"/><Relationship Id="rId23" Type="http://schemas.openxmlformats.org/officeDocument/2006/relationships/image" Target="../media/image136.png"/><Relationship Id="rId28" Type="http://schemas.openxmlformats.org/officeDocument/2006/relationships/customXml" Target="../ink/ink114.xml"/><Relationship Id="rId10" Type="http://schemas.openxmlformats.org/officeDocument/2006/relationships/customXml" Target="../ink/ink105.xml"/><Relationship Id="rId19" Type="http://schemas.openxmlformats.org/officeDocument/2006/relationships/image" Target="../media/image134.png"/><Relationship Id="rId31" Type="http://schemas.openxmlformats.org/officeDocument/2006/relationships/image" Target="../media/image140.png"/><Relationship Id="rId4" Type="http://schemas.openxmlformats.org/officeDocument/2006/relationships/customXml" Target="../ink/ink102.xml"/><Relationship Id="rId9" Type="http://schemas.openxmlformats.org/officeDocument/2006/relationships/image" Target="../media/image129.png"/><Relationship Id="rId14" Type="http://schemas.openxmlformats.org/officeDocument/2006/relationships/customXml" Target="../ink/ink107.xml"/><Relationship Id="rId22" Type="http://schemas.openxmlformats.org/officeDocument/2006/relationships/customXml" Target="../ink/ink111.xml"/><Relationship Id="rId27" Type="http://schemas.openxmlformats.org/officeDocument/2006/relationships/image" Target="../media/image138.png"/><Relationship Id="rId30" Type="http://schemas.openxmlformats.org/officeDocument/2006/relationships/customXml" Target="../ink/ink115.xml"/><Relationship Id="rId35" Type="http://schemas.openxmlformats.org/officeDocument/2006/relationships/image" Target="../media/image142.png"/><Relationship Id="rId8" Type="http://schemas.openxmlformats.org/officeDocument/2006/relationships/customXml" Target="../ink/ink104.xml"/></Relationships>
</file>

<file path=ppt/slides/_rels/slide68.xml.rels><?xml version="1.0" encoding="UTF-8" standalone="yes"?>
<Relationships xmlns="http://schemas.openxmlformats.org/package/2006/relationships"><Relationship Id="rId26" Type="http://schemas.openxmlformats.org/officeDocument/2006/relationships/customXml" Target="../ink/ink129.xml"/><Relationship Id="rId21" Type="http://schemas.openxmlformats.org/officeDocument/2006/relationships/image" Target="../media/image151.png"/><Relationship Id="rId34" Type="http://schemas.openxmlformats.org/officeDocument/2006/relationships/customXml" Target="../ink/ink133.xml"/><Relationship Id="rId42" Type="http://schemas.openxmlformats.org/officeDocument/2006/relationships/customXml" Target="../ink/ink137.xml"/><Relationship Id="rId47" Type="http://schemas.openxmlformats.org/officeDocument/2006/relationships/image" Target="../media/image164.png"/><Relationship Id="rId50" Type="http://schemas.openxmlformats.org/officeDocument/2006/relationships/customXml" Target="../ink/ink141.xml"/><Relationship Id="rId55" Type="http://schemas.openxmlformats.org/officeDocument/2006/relationships/image" Target="../media/image168.png"/><Relationship Id="rId63" Type="http://schemas.openxmlformats.org/officeDocument/2006/relationships/image" Target="../media/image172.png"/><Relationship Id="rId7" Type="http://schemas.openxmlformats.org/officeDocument/2006/relationships/image" Target="../media/image144.png"/><Relationship Id="rId2" Type="http://schemas.openxmlformats.org/officeDocument/2006/relationships/notesSlide" Target="../notesSlides/notesSlide68.xml"/><Relationship Id="rId16" Type="http://schemas.openxmlformats.org/officeDocument/2006/relationships/customXml" Target="../ink/ink124.xml"/><Relationship Id="rId29" Type="http://schemas.openxmlformats.org/officeDocument/2006/relationships/image" Target="../media/image155.png"/><Relationship Id="rId11" Type="http://schemas.openxmlformats.org/officeDocument/2006/relationships/image" Target="../media/image146.png"/><Relationship Id="rId24" Type="http://schemas.openxmlformats.org/officeDocument/2006/relationships/customXml" Target="../ink/ink128.xml"/><Relationship Id="rId32" Type="http://schemas.openxmlformats.org/officeDocument/2006/relationships/customXml" Target="../ink/ink132.xml"/><Relationship Id="rId37" Type="http://schemas.openxmlformats.org/officeDocument/2006/relationships/image" Target="../media/image159.png"/><Relationship Id="rId40" Type="http://schemas.openxmlformats.org/officeDocument/2006/relationships/customXml" Target="../ink/ink136.xml"/><Relationship Id="rId45" Type="http://schemas.openxmlformats.org/officeDocument/2006/relationships/image" Target="../media/image163.png"/><Relationship Id="rId53" Type="http://schemas.openxmlformats.org/officeDocument/2006/relationships/image" Target="../media/image167.png"/><Relationship Id="rId58" Type="http://schemas.openxmlformats.org/officeDocument/2006/relationships/customXml" Target="../ink/ink145.xml"/><Relationship Id="rId66" Type="http://schemas.openxmlformats.org/officeDocument/2006/relationships/customXml" Target="../ink/ink149.xml"/><Relationship Id="rId5" Type="http://schemas.openxmlformats.org/officeDocument/2006/relationships/image" Target="../media/image143.png"/><Relationship Id="rId61" Type="http://schemas.openxmlformats.org/officeDocument/2006/relationships/image" Target="../media/image171.png"/><Relationship Id="rId19" Type="http://schemas.openxmlformats.org/officeDocument/2006/relationships/image" Target="../media/image150.png"/><Relationship Id="rId14" Type="http://schemas.openxmlformats.org/officeDocument/2006/relationships/customXml" Target="../ink/ink123.xml"/><Relationship Id="rId22" Type="http://schemas.openxmlformats.org/officeDocument/2006/relationships/customXml" Target="../ink/ink127.xml"/><Relationship Id="rId27" Type="http://schemas.openxmlformats.org/officeDocument/2006/relationships/image" Target="../media/image154.png"/><Relationship Id="rId30" Type="http://schemas.openxmlformats.org/officeDocument/2006/relationships/customXml" Target="../ink/ink131.xml"/><Relationship Id="rId35" Type="http://schemas.openxmlformats.org/officeDocument/2006/relationships/image" Target="../media/image158.png"/><Relationship Id="rId43" Type="http://schemas.openxmlformats.org/officeDocument/2006/relationships/image" Target="../media/image162.png"/><Relationship Id="rId48" Type="http://schemas.openxmlformats.org/officeDocument/2006/relationships/customXml" Target="../ink/ink140.xml"/><Relationship Id="rId56" Type="http://schemas.openxmlformats.org/officeDocument/2006/relationships/customXml" Target="../ink/ink144.xml"/><Relationship Id="rId64" Type="http://schemas.openxmlformats.org/officeDocument/2006/relationships/customXml" Target="../ink/ink148.xml"/><Relationship Id="rId8" Type="http://schemas.openxmlformats.org/officeDocument/2006/relationships/customXml" Target="../ink/ink120.xml"/><Relationship Id="rId51" Type="http://schemas.openxmlformats.org/officeDocument/2006/relationships/image" Target="../media/image166.png"/><Relationship Id="rId3" Type="http://schemas.openxmlformats.org/officeDocument/2006/relationships/image" Target="../media/image32.png"/><Relationship Id="rId12" Type="http://schemas.openxmlformats.org/officeDocument/2006/relationships/customXml" Target="../ink/ink122.xml"/><Relationship Id="rId17" Type="http://schemas.openxmlformats.org/officeDocument/2006/relationships/image" Target="../media/image149.png"/><Relationship Id="rId25" Type="http://schemas.openxmlformats.org/officeDocument/2006/relationships/image" Target="../media/image153.png"/><Relationship Id="rId33" Type="http://schemas.openxmlformats.org/officeDocument/2006/relationships/image" Target="../media/image157.png"/><Relationship Id="rId38" Type="http://schemas.openxmlformats.org/officeDocument/2006/relationships/customXml" Target="../ink/ink135.xml"/><Relationship Id="rId46" Type="http://schemas.openxmlformats.org/officeDocument/2006/relationships/customXml" Target="../ink/ink139.xml"/><Relationship Id="rId59" Type="http://schemas.openxmlformats.org/officeDocument/2006/relationships/image" Target="../media/image170.png"/><Relationship Id="rId67" Type="http://schemas.openxmlformats.org/officeDocument/2006/relationships/image" Target="../media/image174.png"/><Relationship Id="rId20" Type="http://schemas.openxmlformats.org/officeDocument/2006/relationships/customXml" Target="../ink/ink126.xml"/><Relationship Id="rId41" Type="http://schemas.openxmlformats.org/officeDocument/2006/relationships/image" Target="../media/image161.png"/><Relationship Id="rId54" Type="http://schemas.openxmlformats.org/officeDocument/2006/relationships/customXml" Target="../ink/ink143.xml"/><Relationship Id="rId62" Type="http://schemas.openxmlformats.org/officeDocument/2006/relationships/customXml" Target="../ink/ink147.xml"/><Relationship Id="rId1" Type="http://schemas.openxmlformats.org/officeDocument/2006/relationships/slideLayout" Target="../slideLayouts/slideLayout5.xml"/><Relationship Id="rId6" Type="http://schemas.openxmlformats.org/officeDocument/2006/relationships/customXml" Target="../ink/ink119.xml"/><Relationship Id="rId15" Type="http://schemas.openxmlformats.org/officeDocument/2006/relationships/image" Target="../media/image148.png"/><Relationship Id="rId23" Type="http://schemas.openxmlformats.org/officeDocument/2006/relationships/image" Target="../media/image152.png"/><Relationship Id="rId28" Type="http://schemas.openxmlformats.org/officeDocument/2006/relationships/customXml" Target="../ink/ink130.xml"/><Relationship Id="rId36" Type="http://schemas.openxmlformats.org/officeDocument/2006/relationships/customXml" Target="../ink/ink134.xml"/><Relationship Id="rId49" Type="http://schemas.openxmlformats.org/officeDocument/2006/relationships/image" Target="../media/image165.png"/><Relationship Id="rId57" Type="http://schemas.openxmlformats.org/officeDocument/2006/relationships/image" Target="../media/image169.png"/><Relationship Id="rId10" Type="http://schemas.openxmlformats.org/officeDocument/2006/relationships/customXml" Target="../ink/ink121.xml"/><Relationship Id="rId31" Type="http://schemas.openxmlformats.org/officeDocument/2006/relationships/image" Target="../media/image156.png"/><Relationship Id="rId44" Type="http://schemas.openxmlformats.org/officeDocument/2006/relationships/customXml" Target="../ink/ink138.xml"/><Relationship Id="rId52" Type="http://schemas.openxmlformats.org/officeDocument/2006/relationships/customXml" Target="../ink/ink142.xml"/><Relationship Id="rId60" Type="http://schemas.openxmlformats.org/officeDocument/2006/relationships/customXml" Target="../ink/ink146.xml"/><Relationship Id="rId65" Type="http://schemas.openxmlformats.org/officeDocument/2006/relationships/image" Target="../media/image173.png"/><Relationship Id="rId4" Type="http://schemas.openxmlformats.org/officeDocument/2006/relationships/customXml" Target="../ink/ink118.xml"/><Relationship Id="rId9" Type="http://schemas.openxmlformats.org/officeDocument/2006/relationships/image" Target="../media/image145.png"/><Relationship Id="rId13" Type="http://schemas.openxmlformats.org/officeDocument/2006/relationships/image" Target="../media/image147.png"/><Relationship Id="rId18" Type="http://schemas.openxmlformats.org/officeDocument/2006/relationships/customXml" Target="../ink/ink125.xml"/><Relationship Id="rId39" Type="http://schemas.openxmlformats.org/officeDocument/2006/relationships/image" Target="../media/image160.png"/></Relationships>
</file>

<file path=ppt/slides/_rels/slide69.xml.rels><?xml version="1.0" encoding="UTF-8" standalone="yes"?>
<Relationships xmlns="http://schemas.openxmlformats.org/package/2006/relationships"><Relationship Id="rId13" Type="http://schemas.openxmlformats.org/officeDocument/2006/relationships/image" Target="../media/image179.png"/><Relationship Id="rId18" Type="http://schemas.openxmlformats.org/officeDocument/2006/relationships/customXml" Target="../ink/ink157.xml"/><Relationship Id="rId26" Type="http://schemas.openxmlformats.org/officeDocument/2006/relationships/customXml" Target="../ink/ink161.xml"/><Relationship Id="rId39" Type="http://schemas.openxmlformats.org/officeDocument/2006/relationships/image" Target="../media/image192.png"/><Relationship Id="rId21" Type="http://schemas.openxmlformats.org/officeDocument/2006/relationships/image" Target="../media/image183.png"/><Relationship Id="rId34" Type="http://schemas.openxmlformats.org/officeDocument/2006/relationships/customXml" Target="../ink/ink165.xml"/><Relationship Id="rId42" Type="http://schemas.openxmlformats.org/officeDocument/2006/relationships/customXml" Target="../ink/ink169.xml"/><Relationship Id="rId47" Type="http://schemas.openxmlformats.org/officeDocument/2006/relationships/image" Target="../media/image196.png"/><Relationship Id="rId50" Type="http://schemas.openxmlformats.org/officeDocument/2006/relationships/customXml" Target="../ink/ink173.xml"/><Relationship Id="rId7" Type="http://schemas.openxmlformats.org/officeDocument/2006/relationships/image" Target="../media/image176.png"/><Relationship Id="rId2" Type="http://schemas.openxmlformats.org/officeDocument/2006/relationships/notesSlide" Target="../notesSlides/notesSlide69.xml"/><Relationship Id="rId16" Type="http://schemas.openxmlformats.org/officeDocument/2006/relationships/customXml" Target="../ink/ink156.xml"/><Relationship Id="rId29" Type="http://schemas.openxmlformats.org/officeDocument/2006/relationships/image" Target="../media/image187.png"/><Relationship Id="rId11" Type="http://schemas.openxmlformats.org/officeDocument/2006/relationships/image" Target="../media/image178.png"/><Relationship Id="rId24" Type="http://schemas.openxmlformats.org/officeDocument/2006/relationships/customXml" Target="../ink/ink160.xml"/><Relationship Id="rId32" Type="http://schemas.openxmlformats.org/officeDocument/2006/relationships/customXml" Target="../ink/ink164.xml"/><Relationship Id="rId37" Type="http://schemas.openxmlformats.org/officeDocument/2006/relationships/image" Target="../media/image191.png"/><Relationship Id="rId40" Type="http://schemas.openxmlformats.org/officeDocument/2006/relationships/customXml" Target="../ink/ink168.xml"/><Relationship Id="rId45" Type="http://schemas.openxmlformats.org/officeDocument/2006/relationships/image" Target="../media/image195.png"/><Relationship Id="rId53" Type="http://schemas.openxmlformats.org/officeDocument/2006/relationships/image" Target="../media/image199.png"/><Relationship Id="rId5" Type="http://schemas.openxmlformats.org/officeDocument/2006/relationships/image" Target="../media/image175.png"/><Relationship Id="rId10" Type="http://schemas.openxmlformats.org/officeDocument/2006/relationships/customXml" Target="../ink/ink153.xml"/><Relationship Id="rId19" Type="http://schemas.openxmlformats.org/officeDocument/2006/relationships/image" Target="../media/image182.png"/><Relationship Id="rId31" Type="http://schemas.openxmlformats.org/officeDocument/2006/relationships/image" Target="../media/image188.png"/><Relationship Id="rId44" Type="http://schemas.openxmlformats.org/officeDocument/2006/relationships/customXml" Target="../ink/ink170.xml"/><Relationship Id="rId52" Type="http://schemas.openxmlformats.org/officeDocument/2006/relationships/customXml" Target="../ink/ink174.xml"/><Relationship Id="rId4" Type="http://schemas.openxmlformats.org/officeDocument/2006/relationships/customXml" Target="../ink/ink150.xml"/><Relationship Id="rId9" Type="http://schemas.openxmlformats.org/officeDocument/2006/relationships/image" Target="../media/image177.png"/><Relationship Id="rId14" Type="http://schemas.openxmlformats.org/officeDocument/2006/relationships/customXml" Target="../ink/ink155.xml"/><Relationship Id="rId22" Type="http://schemas.openxmlformats.org/officeDocument/2006/relationships/customXml" Target="../ink/ink159.xml"/><Relationship Id="rId27" Type="http://schemas.openxmlformats.org/officeDocument/2006/relationships/image" Target="../media/image186.png"/><Relationship Id="rId30" Type="http://schemas.openxmlformats.org/officeDocument/2006/relationships/customXml" Target="../ink/ink163.xml"/><Relationship Id="rId35" Type="http://schemas.openxmlformats.org/officeDocument/2006/relationships/image" Target="../media/image190.png"/><Relationship Id="rId43" Type="http://schemas.openxmlformats.org/officeDocument/2006/relationships/image" Target="../media/image194.png"/><Relationship Id="rId48" Type="http://schemas.openxmlformats.org/officeDocument/2006/relationships/customXml" Target="../ink/ink172.xml"/><Relationship Id="rId8" Type="http://schemas.openxmlformats.org/officeDocument/2006/relationships/customXml" Target="../ink/ink152.xml"/><Relationship Id="rId51" Type="http://schemas.openxmlformats.org/officeDocument/2006/relationships/image" Target="../media/image198.png"/><Relationship Id="rId3" Type="http://schemas.openxmlformats.org/officeDocument/2006/relationships/image" Target="../media/image32.png"/><Relationship Id="rId12" Type="http://schemas.openxmlformats.org/officeDocument/2006/relationships/customXml" Target="../ink/ink154.xml"/><Relationship Id="rId17" Type="http://schemas.openxmlformats.org/officeDocument/2006/relationships/image" Target="../media/image181.png"/><Relationship Id="rId25" Type="http://schemas.openxmlformats.org/officeDocument/2006/relationships/image" Target="../media/image185.png"/><Relationship Id="rId33" Type="http://schemas.openxmlformats.org/officeDocument/2006/relationships/image" Target="../media/image189.png"/><Relationship Id="rId38" Type="http://schemas.openxmlformats.org/officeDocument/2006/relationships/customXml" Target="../ink/ink167.xml"/><Relationship Id="rId46" Type="http://schemas.openxmlformats.org/officeDocument/2006/relationships/customXml" Target="../ink/ink171.xml"/><Relationship Id="rId20" Type="http://schemas.openxmlformats.org/officeDocument/2006/relationships/customXml" Target="../ink/ink158.xml"/><Relationship Id="rId41" Type="http://schemas.openxmlformats.org/officeDocument/2006/relationships/image" Target="../media/image193.png"/><Relationship Id="rId1" Type="http://schemas.openxmlformats.org/officeDocument/2006/relationships/slideLayout" Target="../slideLayouts/slideLayout5.xml"/><Relationship Id="rId6" Type="http://schemas.openxmlformats.org/officeDocument/2006/relationships/customXml" Target="../ink/ink151.xml"/><Relationship Id="rId15" Type="http://schemas.openxmlformats.org/officeDocument/2006/relationships/image" Target="../media/image180.png"/><Relationship Id="rId23" Type="http://schemas.openxmlformats.org/officeDocument/2006/relationships/image" Target="../media/image184.png"/><Relationship Id="rId28" Type="http://schemas.openxmlformats.org/officeDocument/2006/relationships/customXml" Target="../ink/ink162.xml"/><Relationship Id="rId36" Type="http://schemas.openxmlformats.org/officeDocument/2006/relationships/customXml" Target="../ink/ink166.xml"/><Relationship Id="rId49" Type="http://schemas.openxmlformats.org/officeDocument/2006/relationships/image" Target="../media/image19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6" Type="http://schemas.openxmlformats.org/officeDocument/2006/relationships/customXml" Target="../ink/ink186.xml"/><Relationship Id="rId117" Type="http://schemas.openxmlformats.org/officeDocument/2006/relationships/image" Target="../media/image254.png"/><Relationship Id="rId21" Type="http://schemas.openxmlformats.org/officeDocument/2006/relationships/image" Target="../media/image208.png"/><Relationship Id="rId42" Type="http://schemas.openxmlformats.org/officeDocument/2006/relationships/customXml" Target="../ink/ink194.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07.xml"/><Relationship Id="rId84" Type="http://schemas.openxmlformats.org/officeDocument/2006/relationships/customXml" Target="../ink/ink215.xml"/><Relationship Id="rId89" Type="http://schemas.openxmlformats.org/officeDocument/2006/relationships/image" Target="../media/image240.png"/><Relationship Id="rId112" Type="http://schemas.openxmlformats.org/officeDocument/2006/relationships/customXml" Target="../ink/ink229.xml"/><Relationship Id="rId16" Type="http://schemas.openxmlformats.org/officeDocument/2006/relationships/customXml" Target="../ink/ink181.xml"/><Relationship Id="rId107" Type="http://schemas.openxmlformats.org/officeDocument/2006/relationships/image" Target="../media/image249.png"/><Relationship Id="rId11" Type="http://schemas.openxmlformats.org/officeDocument/2006/relationships/image" Target="../media/image203.png"/><Relationship Id="rId32" Type="http://schemas.openxmlformats.org/officeDocument/2006/relationships/customXml" Target="../ink/ink189.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02.xml"/><Relationship Id="rId74" Type="http://schemas.openxmlformats.org/officeDocument/2006/relationships/customXml" Target="../ink/ink210.xml"/><Relationship Id="rId79" Type="http://schemas.openxmlformats.org/officeDocument/2006/relationships/image" Target="../media/image235.png"/><Relationship Id="rId102" Type="http://schemas.openxmlformats.org/officeDocument/2006/relationships/customXml" Target="../ink/ink224.xml"/><Relationship Id="rId123" Type="http://schemas.openxmlformats.org/officeDocument/2006/relationships/image" Target="../media/image257.png"/><Relationship Id="rId5" Type="http://schemas.openxmlformats.org/officeDocument/2006/relationships/image" Target="../media/image200.png"/><Relationship Id="rId90" Type="http://schemas.openxmlformats.org/officeDocument/2006/relationships/customXml" Target="../ink/ink218.xml"/><Relationship Id="rId95" Type="http://schemas.openxmlformats.org/officeDocument/2006/relationships/image" Target="../media/image243.png"/><Relationship Id="rId22" Type="http://schemas.openxmlformats.org/officeDocument/2006/relationships/customXml" Target="../ink/ink184.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197.xml"/><Relationship Id="rId64" Type="http://schemas.openxmlformats.org/officeDocument/2006/relationships/customXml" Target="../ink/ink205.xml"/><Relationship Id="rId69" Type="http://schemas.openxmlformats.org/officeDocument/2006/relationships/image" Target="../media/image230.png"/><Relationship Id="rId113" Type="http://schemas.openxmlformats.org/officeDocument/2006/relationships/image" Target="../media/image252.png"/><Relationship Id="rId118" Type="http://schemas.openxmlformats.org/officeDocument/2006/relationships/customXml" Target="../ink/ink232.xml"/><Relationship Id="rId80" Type="http://schemas.openxmlformats.org/officeDocument/2006/relationships/customXml" Target="../ink/ink213.xml"/><Relationship Id="rId85" Type="http://schemas.openxmlformats.org/officeDocument/2006/relationships/image" Target="../media/image238.png"/><Relationship Id="rId12" Type="http://schemas.openxmlformats.org/officeDocument/2006/relationships/customXml" Target="../ink/ink179.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192.xml"/><Relationship Id="rId59" Type="http://schemas.openxmlformats.org/officeDocument/2006/relationships/image" Target="../media/image225.png"/><Relationship Id="rId103" Type="http://schemas.openxmlformats.org/officeDocument/2006/relationships/image" Target="../media/image247.png"/><Relationship Id="rId108" Type="http://schemas.openxmlformats.org/officeDocument/2006/relationships/customXml" Target="../ink/ink227.xml"/><Relationship Id="rId124" Type="http://schemas.openxmlformats.org/officeDocument/2006/relationships/customXml" Target="../ink/ink235.xml"/><Relationship Id="rId54" Type="http://schemas.openxmlformats.org/officeDocument/2006/relationships/customXml" Target="../ink/ink200.xml"/><Relationship Id="rId70" Type="http://schemas.openxmlformats.org/officeDocument/2006/relationships/customXml" Target="../ink/ink208.xml"/><Relationship Id="rId75" Type="http://schemas.openxmlformats.org/officeDocument/2006/relationships/image" Target="../media/image233.png"/><Relationship Id="rId91" Type="http://schemas.openxmlformats.org/officeDocument/2006/relationships/image" Target="../media/image241.png"/><Relationship Id="rId96" Type="http://schemas.openxmlformats.org/officeDocument/2006/relationships/customXml" Target="../ink/ink221.xml"/><Relationship Id="rId1" Type="http://schemas.openxmlformats.org/officeDocument/2006/relationships/slideLayout" Target="../slideLayouts/slideLayout5.xml"/><Relationship Id="rId6" Type="http://schemas.openxmlformats.org/officeDocument/2006/relationships/customXml" Target="../ink/ink176.xml"/><Relationship Id="rId23" Type="http://schemas.openxmlformats.org/officeDocument/2006/relationships/image" Target="../media/image209.png"/><Relationship Id="rId28" Type="http://schemas.openxmlformats.org/officeDocument/2006/relationships/customXml" Target="../ink/ink187.xml"/><Relationship Id="rId49" Type="http://schemas.openxmlformats.org/officeDocument/2006/relationships/image" Target="../media/image221.png"/><Relationship Id="rId114" Type="http://schemas.openxmlformats.org/officeDocument/2006/relationships/customXml" Target="../ink/ink230.xml"/><Relationship Id="rId119" Type="http://schemas.openxmlformats.org/officeDocument/2006/relationships/image" Target="../media/image255.png"/><Relationship Id="rId44" Type="http://schemas.openxmlformats.org/officeDocument/2006/relationships/customXml" Target="../ink/ink195.xml"/><Relationship Id="rId60" Type="http://schemas.openxmlformats.org/officeDocument/2006/relationships/customXml" Target="../ink/ink203.xml"/><Relationship Id="rId65" Type="http://schemas.openxmlformats.org/officeDocument/2006/relationships/image" Target="../media/image228.png"/><Relationship Id="rId81" Type="http://schemas.openxmlformats.org/officeDocument/2006/relationships/image" Target="../media/image236.png"/><Relationship Id="rId86" Type="http://schemas.openxmlformats.org/officeDocument/2006/relationships/customXml" Target="../ink/ink216.xml"/><Relationship Id="rId13" Type="http://schemas.openxmlformats.org/officeDocument/2006/relationships/image" Target="../media/image204.png"/><Relationship Id="rId18" Type="http://schemas.openxmlformats.org/officeDocument/2006/relationships/customXml" Target="../ink/ink18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190.xml"/><Relationship Id="rId50" Type="http://schemas.openxmlformats.org/officeDocument/2006/relationships/customXml" Target="../ink/ink198.xml"/><Relationship Id="rId55" Type="http://schemas.openxmlformats.org/officeDocument/2006/relationships/image" Target="../media/image223.png"/><Relationship Id="rId76" Type="http://schemas.openxmlformats.org/officeDocument/2006/relationships/customXml" Target="../ink/ink211.xml"/><Relationship Id="rId97" Type="http://schemas.openxmlformats.org/officeDocument/2006/relationships/image" Target="../media/image244.png"/><Relationship Id="rId104" Type="http://schemas.openxmlformats.org/officeDocument/2006/relationships/customXml" Target="../ink/ink225.xml"/><Relationship Id="rId120" Type="http://schemas.openxmlformats.org/officeDocument/2006/relationships/customXml" Target="../ink/ink233.xml"/><Relationship Id="rId125" Type="http://schemas.openxmlformats.org/officeDocument/2006/relationships/image" Target="../media/image258.png"/><Relationship Id="rId7" Type="http://schemas.openxmlformats.org/officeDocument/2006/relationships/image" Target="../media/image201.png"/><Relationship Id="rId71" Type="http://schemas.openxmlformats.org/officeDocument/2006/relationships/image" Target="../media/image231.png"/><Relationship Id="rId92" Type="http://schemas.openxmlformats.org/officeDocument/2006/relationships/customXml" Target="../ink/ink219.xml"/><Relationship Id="rId2" Type="http://schemas.openxmlformats.org/officeDocument/2006/relationships/notesSlide" Target="../notesSlides/notesSlide70.xml"/><Relationship Id="rId29" Type="http://schemas.openxmlformats.org/officeDocument/2006/relationships/image" Target="../media/image212.png"/><Relationship Id="rId24" Type="http://schemas.openxmlformats.org/officeDocument/2006/relationships/customXml" Target="../ink/ink185.xml"/><Relationship Id="rId40" Type="http://schemas.openxmlformats.org/officeDocument/2006/relationships/customXml" Target="../ink/ink193.xml"/><Relationship Id="rId45" Type="http://schemas.openxmlformats.org/officeDocument/2006/relationships/image" Target="../media/image88.png"/><Relationship Id="rId66" Type="http://schemas.openxmlformats.org/officeDocument/2006/relationships/customXml" Target="../ink/ink206.xml"/><Relationship Id="rId87" Type="http://schemas.openxmlformats.org/officeDocument/2006/relationships/image" Target="../media/image239.png"/><Relationship Id="rId110" Type="http://schemas.openxmlformats.org/officeDocument/2006/relationships/customXml" Target="../ink/ink228.xml"/><Relationship Id="rId115" Type="http://schemas.openxmlformats.org/officeDocument/2006/relationships/image" Target="../media/image253.png"/><Relationship Id="rId61" Type="http://schemas.openxmlformats.org/officeDocument/2006/relationships/image" Target="../media/image226.png"/><Relationship Id="rId82" Type="http://schemas.openxmlformats.org/officeDocument/2006/relationships/customXml" Target="../ink/ink214.xml"/><Relationship Id="rId19" Type="http://schemas.openxmlformats.org/officeDocument/2006/relationships/image" Target="../media/image207.png"/><Relationship Id="rId14" Type="http://schemas.openxmlformats.org/officeDocument/2006/relationships/customXml" Target="../ink/ink180.xml"/><Relationship Id="rId30" Type="http://schemas.openxmlformats.org/officeDocument/2006/relationships/customXml" Target="../ink/ink188.xml"/><Relationship Id="rId35" Type="http://schemas.openxmlformats.org/officeDocument/2006/relationships/image" Target="../media/image215.png"/><Relationship Id="rId56" Type="http://schemas.openxmlformats.org/officeDocument/2006/relationships/customXml" Target="../ink/ink201.xml"/><Relationship Id="rId77" Type="http://schemas.openxmlformats.org/officeDocument/2006/relationships/image" Target="../media/image234.png"/><Relationship Id="rId100" Type="http://schemas.openxmlformats.org/officeDocument/2006/relationships/customXml" Target="../ink/ink223.xml"/><Relationship Id="rId105" Type="http://schemas.openxmlformats.org/officeDocument/2006/relationships/image" Target="../media/image248.png"/><Relationship Id="rId8" Type="http://schemas.openxmlformats.org/officeDocument/2006/relationships/customXml" Target="../ink/ink177.xml"/><Relationship Id="rId51" Type="http://schemas.openxmlformats.org/officeDocument/2006/relationships/image" Target="../media/image91.png"/><Relationship Id="rId72" Type="http://schemas.openxmlformats.org/officeDocument/2006/relationships/customXml" Target="../ink/ink209.xml"/><Relationship Id="rId93" Type="http://schemas.openxmlformats.org/officeDocument/2006/relationships/image" Target="../media/image242.png"/><Relationship Id="rId98" Type="http://schemas.openxmlformats.org/officeDocument/2006/relationships/customXml" Target="../ink/ink222.xml"/><Relationship Id="rId121" Type="http://schemas.openxmlformats.org/officeDocument/2006/relationships/image" Target="../media/image256.png"/><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196.xml"/><Relationship Id="rId67" Type="http://schemas.openxmlformats.org/officeDocument/2006/relationships/image" Target="../media/image229.png"/><Relationship Id="rId116" Type="http://schemas.openxmlformats.org/officeDocument/2006/relationships/customXml" Target="../ink/ink231.xml"/><Relationship Id="rId20" Type="http://schemas.openxmlformats.org/officeDocument/2006/relationships/customXml" Target="../ink/ink183.xml"/><Relationship Id="rId41" Type="http://schemas.openxmlformats.org/officeDocument/2006/relationships/image" Target="../media/image218.png"/><Relationship Id="rId62" Type="http://schemas.openxmlformats.org/officeDocument/2006/relationships/customXml" Target="../ink/ink204.xml"/><Relationship Id="rId83" Type="http://schemas.openxmlformats.org/officeDocument/2006/relationships/image" Target="../media/image237.png"/><Relationship Id="rId88" Type="http://schemas.openxmlformats.org/officeDocument/2006/relationships/customXml" Target="../ink/ink217.xml"/><Relationship Id="rId111" Type="http://schemas.openxmlformats.org/officeDocument/2006/relationships/image" Target="../media/image251.png"/><Relationship Id="rId15" Type="http://schemas.openxmlformats.org/officeDocument/2006/relationships/image" Target="../media/image205.png"/><Relationship Id="rId36" Type="http://schemas.openxmlformats.org/officeDocument/2006/relationships/customXml" Target="../ink/ink191.xml"/><Relationship Id="rId57" Type="http://schemas.openxmlformats.org/officeDocument/2006/relationships/image" Target="../media/image224.png"/><Relationship Id="rId106" Type="http://schemas.openxmlformats.org/officeDocument/2006/relationships/customXml" Target="../ink/ink226.xml"/><Relationship Id="rId10" Type="http://schemas.openxmlformats.org/officeDocument/2006/relationships/customXml" Target="../ink/ink178.xml"/><Relationship Id="rId31" Type="http://schemas.openxmlformats.org/officeDocument/2006/relationships/image" Target="../media/image213.png"/><Relationship Id="rId52" Type="http://schemas.openxmlformats.org/officeDocument/2006/relationships/customXml" Target="../ink/ink199.xml"/><Relationship Id="rId73" Type="http://schemas.openxmlformats.org/officeDocument/2006/relationships/image" Target="../media/image232.png"/><Relationship Id="rId78" Type="http://schemas.openxmlformats.org/officeDocument/2006/relationships/customXml" Target="../ink/ink212.xml"/><Relationship Id="rId94" Type="http://schemas.openxmlformats.org/officeDocument/2006/relationships/customXml" Target="../ink/ink220.xml"/><Relationship Id="rId99" Type="http://schemas.openxmlformats.org/officeDocument/2006/relationships/image" Target="../media/image245.png"/><Relationship Id="rId101" Type="http://schemas.openxmlformats.org/officeDocument/2006/relationships/image" Target="../media/image246.png"/><Relationship Id="rId122" Type="http://schemas.openxmlformats.org/officeDocument/2006/relationships/customXml" Target="../ink/ink234.xml"/><Relationship Id="rId4" Type="http://schemas.openxmlformats.org/officeDocument/2006/relationships/customXml" Target="../ink/ink175.xml"/><Relationship Id="rId9" Type="http://schemas.openxmlformats.org/officeDocument/2006/relationships/image" Target="../media/image202.png"/></Relationships>
</file>

<file path=ppt/slides/_rels/slide71.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255.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68.xml"/><Relationship Id="rId84" Type="http://schemas.openxmlformats.org/officeDocument/2006/relationships/customXml" Target="../ink/ink276.xml"/><Relationship Id="rId89" Type="http://schemas.openxmlformats.org/officeDocument/2006/relationships/image" Target="../media/image269.png"/><Relationship Id="rId112" Type="http://schemas.openxmlformats.org/officeDocument/2006/relationships/customXml" Target="../ink/ink290.xml"/><Relationship Id="rId16" Type="http://schemas.openxmlformats.org/officeDocument/2006/relationships/customXml" Target="../ink/ink242.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250.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63.xml"/><Relationship Id="rId74" Type="http://schemas.openxmlformats.org/officeDocument/2006/relationships/customXml" Target="../ink/ink271.xml"/><Relationship Id="rId79" Type="http://schemas.openxmlformats.org/officeDocument/2006/relationships/image" Target="../media/image264.png"/><Relationship Id="rId102" Type="http://schemas.openxmlformats.org/officeDocument/2006/relationships/customXml" Target="../ink/ink285.xml"/><Relationship Id="rId123" Type="http://schemas.openxmlformats.org/officeDocument/2006/relationships/image" Target="../media/image284.png"/><Relationship Id="rId128" Type="http://schemas.openxmlformats.org/officeDocument/2006/relationships/customXml" Target="../ink/ink298.xml"/><Relationship Id="rId5" Type="http://schemas.openxmlformats.org/officeDocument/2006/relationships/image" Target="../media/image200.png"/><Relationship Id="rId90" Type="http://schemas.openxmlformats.org/officeDocument/2006/relationships/customXml" Target="../ink/ink279.xml"/><Relationship Id="rId95" Type="http://schemas.openxmlformats.org/officeDocument/2006/relationships/image" Target="../media/image272.png"/><Relationship Id="rId22" Type="http://schemas.openxmlformats.org/officeDocument/2006/relationships/customXml" Target="../ink/ink245.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258.xml"/><Relationship Id="rId64" Type="http://schemas.openxmlformats.org/officeDocument/2006/relationships/customXml" Target="../ink/ink266.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293.xml"/><Relationship Id="rId80" Type="http://schemas.openxmlformats.org/officeDocument/2006/relationships/customXml" Target="../ink/ink274.xml"/><Relationship Id="rId85" Type="http://schemas.openxmlformats.org/officeDocument/2006/relationships/image" Target="../media/image267.png"/><Relationship Id="rId12" Type="http://schemas.openxmlformats.org/officeDocument/2006/relationships/customXml" Target="../ink/ink240.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253.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288.xml"/><Relationship Id="rId124" Type="http://schemas.openxmlformats.org/officeDocument/2006/relationships/customXml" Target="../ink/ink296.xml"/><Relationship Id="rId129" Type="http://schemas.openxmlformats.org/officeDocument/2006/relationships/image" Target="../media/image287.png"/><Relationship Id="rId54" Type="http://schemas.openxmlformats.org/officeDocument/2006/relationships/customXml" Target="../ink/ink261.xml"/><Relationship Id="rId70" Type="http://schemas.openxmlformats.org/officeDocument/2006/relationships/customXml" Target="../ink/ink269.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282.xml"/><Relationship Id="rId1" Type="http://schemas.openxmlformats.org/officeDocument/2006/relationships/slideLayout" Target="../slideLayouts/slideLayout5.xml"/><Relationship Id="rId6" Type="http://schemas.openxmlformats.org/officeDocument/2006/relationships/customXml" Target="../ink/ink237.xml"/><Relationship Id="rId23" Type="http://schemas.openxmlformats.org/officeDocument/2006/relationships/image" Target="../media/image209.png"/><Relationship Id="rId28" Type="http://schemas.openxmlformats.org/officeDocument/2006/relationships/customXml" Target="../ink/ink248.xml"/><Relationship Id="rId49" Type="http://schemas.openxmlformats.org/officeDocument/2006/relationships/image" Target="../media/image221.png"/><Relationship Id="rId114" Type="http://schemas.openxmlformats.org/officeDocument/2006/relationships/customXml" Target="../ink/ink291.xml"/><Relationship Id="rId119" Type="http://schemas.openxmlformats.org/officeDocument/2006/relationships/image" Target="../media/image282.png"/><Relationship Id="rId44" Type="http://schemas.openxmlformats.org/officeDocument/2006/relationships/customXml" Target="../ink/ink256.xml"/><Relationship Id="rId60" Type="http://schemas.openxmlformats.org/officeDocument/2006/relationships/customXml" Target="../ink/ink264.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277.xml"/><Relationship Id="rId130" Type="http://schemas.openxmlformats.org/officeDocument/2006/relationships/customXml" Target="../ink/ink299.xml"/><Relationship Id="rId13" Type="http://schemas.openxmlformats.org/officeDocument/2006/relationships/image" Target="../media/image204.png"/><Relationship Id="rId18" Type="http://schemas.openxmlformats.org/officeDocument/2006/relationships/customXml" Target="../ink/ink24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251.xml"/><Relationship Id="rId50" Type="http://schemas.openxmlformats.org/officeDocument/2006/relationships/customXml" Target="../ink/ink259.xml"/><Relationship Id="rId55" Type="http://schemas.openxmlformats.org/officeDocument/2006/relationships/image" Target="../media/image223.png"/><Relationship Id="rId76" Type="http://schemas.openxmlformats.org/officeDocument/2006/relationships/customXml" Target="../ink/ink272.xml"/><Relationship Id="rId97" Type="http://schemas.openxmlformats.org/officeDocument/2006/relationships/image" Target="../media/image273.png"/><Relationship Id="rId104" Type="http://schemas.openxmlformats.org/officeDocument/2006/relationships/customXml" Target="../ink/ink286.xml"/><Relationship Id="rId120" Type="http://schemas.openxmlformats.org/officeDocument/2006/relationships/customXml" Target="../ink/ink294.xml"/><Relationship Id="rId125" Type="http://schemas.openxmlformats.org/officeDocument/2006/relationships/image" Target="../media/image285.png"/><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280.xml"/><Relationship Id="rId2" Type="http://schemas.openxmlformats.org/officeDocument/2006/relationships/notesSlide" Target="../notesSlides/notesSlide71.xml"/><Relationship Id="rId29" Type="http://schemas.openxmlformats.org/officeDocument/2006/relationships/image" Target="../media/image212.png"/><Relationship Id="rId24" Type="http://schemas.openxmlformats.org/officeDocument/2006/relationships/customXml" Target="../ink/ink246.xml"/><Relationship Id="rId40" Type="http://schemas.openxmlformats.org/officeDocument/2006/relationships/customXml" Target="../ink/ink254.xml"/><Relationship Id="rId45" Type="http://schemas.openxmlformats.org/officeDocument/2006/relationships/image" Target="../media/image88.png"/><Relationship Id="rId66" Type="http://schemas.openxmlformats.org/officeDocument/2006/relationships/customXml" Target="../ink/ink267.xml"/><Relationship Id="rId87" Type="http://schemas.openxmlformats.org/officeDocument/2006/relationships/image" Target="../media/image268.png"/><Relationship Id="rId110" Type="http://schemas.openxmlformats.org/officeDocument/2006/relationships/customXml" Target="../ink/ink289.xml"/><Relationship Id="rId115" Type="http://schemas.openxmlformats.org/officeDocument/2006/relationships/image" Target="../media/image280.png"/><Relationship Id="rId131" Type="http://schemas.openxmlformats.org/officeDocument/2006/relationships/image" Target="../media/image288.png"/><Relationship Id="rId61" Type="http://schemas.openxmlformats.org/officeDocument/2006/relationships/image" Target="../media/image226.png"/><Relationship Id="rId82" Type="http://schemas.openxmlformats.org/officeDocument/2006/relationships/customXml" Target="../ink/ink275.xml"/><Relationship Id="rId19" Type="http://schemas.openxmlformats.org/officeDocument/2006/relationships/image" Target="../media/image207.png"/><Relationship Id="rId14" Type="http://schemas.openxmlformats.org/officeDocument/2006/relationships/customXml" Target="../ink/ink241.xml"/><Relationship Id="rId30" Type="http://schemas.openxmlformats.org/officeDocument/2006/relationships/customXml" Target="../ink/ink249.xml"/><Relationship Id="rId35" Type="http://schemas.openxmlformats.org/officeDocument/2006/relationships/image" Target="../media/image215.png"/><Relationship Id="rId56" Type="http://schemas.openxmlformats.org/officeDocument/2006/relationships/customXml" Target="../ink/ink262.xml"/><Relationship Id="rId77" Type="http://schemas.openxmlformats.org/officeDocument/2006/relationships/image" Target="../media/image263.png"/><Relationship Id="rId100" Type="http://schemas.openxmlformats.org/officeDocument/2006/relationships/customXml" Target="../ink/ink284.xml"/><Relationship Id="rId105" Type="http://schemas.openxmlformats.org/officeDocument/2006/relationships/image" Target="../media/image276.png"/><Relationship Id="rId126" Type="http://schemas.openxmlformats.org/officeDocument/2006/relationships/customXml" Target="../ink/ink297.xml"/><Relationship Id="rId8" Type="http://schemas.openxmlformats.org/officeDocument/2006/relationships/customXml" Target="../ink/ink238.xml"/><Relationship Id="rId51" Type="http://schemas.openxmlformats.org/officeDocument/2006/relationships/image" Target="../media/image91.png"/><Relationship Id="rId72" Type="http://schemas.openxmlformats.org/officeDocument/2006/relationships/customXml" Target="../ink/ink270.xml"/><Relationship Id="rId93" Type="http://schemas.openxmlformats.org/officeDocument/2006/relationships/image" Target="../media/image271.png"/><Relationship Id="rId98" Type="http://schemas.openxmlformats.org/officeDocument/2006/relationships/customXml" Target="../ink/ink283.xml"/><Relationship Id="rId121" Type="http://schemas.openxmlformats.org/officeDocument/2006/relationships/image" Target="../media/image283.png"/><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257.xml"/><Relationship Id="rId67" Type="http://schemas.openxmlformats.org/officeDocument/2006/relationships/image" Target="../media/image229.png"/><Relationship Id="rId116" Type="http://schemas.openxmlformats.org/officeDocument/2006/relationships/customXml" Target="../ink/ink292.xml"/><Relationship Id="rId20" Type="http://schemas.openxmlformats.org/officeDocument/2006/relationships/customXml" Target="../ink/ink244.xml"/><Relationship Id="rId41" Type="http://schemas.openxmlformats.org/officeDocument/2006/relationships/image" Target="../media/image218.png"/><Relationship Id="rId62" Type="http://schemas.openxmlformats.org/officeDocument/2006/relationships/customXml" Target="../ink/ink265.xml"/><Relationship Id="rId83" Type="http://schemas.openxmlformats.org/officeDocument/2006/relationships/image" Target="../media/image266.png"/><Relationship Id="rId88" Type="http://schemas.openxmlformats.org/officeDocument/2006/relationships/customXml" Target="../ink/ink278.xml"/><Relationship Id="rId111" Type="http://schemas.openxmlformats.org/officeDocument/2006/relationships/image" Target="../media/image278.png"/><Relationship Id="rId15" Type="http://schemas.openxmlformats.org/officeDocument/2006/relationships/image" Target="../media/image205.png"/><Relationship Id="rId36" Type="http://schemas.openxmlformats.org/officeDocument/2006/relationships/customXml" Target="../ink/ink252.xml"/><Relationship Id="rId57" Type="http://schemas.openxmlformats.org/officeDocument/2006/relationships/image" Target="../media/image224.png"/><Relationship Id="rId106" Type="http://schemas.openxmlformats.org/officeDocument/2006/relationships/customXml" Target="../ink/ink287.xml"/><Relationship Id="rId127" Type="http://schemas.openxmlformats.org/officeDocument/2006/relationships/image" Target="../media/image286.png"/><Relationship Id="rId10" Type="http://schemas.openxmlformats.org/officeDocument/2006/relationships/customXml" Target="../ink/ink239.xml"/><Relationship Id="rId31" Type="http://schemas.openxmlformats.org/officeDocument/2006/relationships/image" Target="../media/image213.png"/><Relationship Id="rId52" Type="http://schemas.openxmlformats.org/officeDocument/2006/relationships/customXml" Target="../ink/ink260.xml"/><Relationship Id="rId73" Type="http://schemas.openxmlformats.org/officeDocument/2006/relationships/image" Target="../media/image261.png"/><Relationship Id="rId78" Type="http://schemas.openxmlformats.org/officeDocument/2006/relationships/customXml" Target="../ink/ink273.xml"/><Relationship Id="rId94" Type="http://schemas.openxmlformats.org/officeDocument/2006/relationships/customXml" Target="../ink/ink28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295.xml"/><Relationship Id="rId4" Type="http://schemas.openxmlformats.org/officeDocument/2006/relationships/customXml" Target="../ink/ink236.xml"/><Relationship Id="rId9" Type="http://schemas.openxmlformats.org/officeDocument/2006/relationships/image" Target="../media/image202.png"/><Relationship Id="rId26" Type="http://schemas.openxmlformats.org/officeDocument/2006/relationships/customXml" Target="../ink/ink247.xml"/></Relationships>
</file>

<file path=ppt/slides/_rels/slide72.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19.xml"/><Relationship Id="rId63" Type="http://schemas.openxmlformats.org/officeDocument/2006/relationships/image" Target="../media/image227.png"/><Relationship Id="rId84" Type="http://schemas.openxmlformats.org/officeDocument/2006/relationships/customXml" Target="../ink/ink340.xml"/><Relationship Id="rId138" Type="http://schemas.openxmlformats.org/officeDocument/2006/relationships/customXml" Target="../ink/ink367.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14.xml"/><Relationship Id="rId53" Type="http://schemas.openxmlformats.org/officeDocument/2006/relationships/image" Target="../media/image222.png"/><Relationship Id="rId74" Type="http://schemas.openxmlformats.org/officeDocument/2006/relationships/customXml" Target="../ink/ink335.xml"/><Relationship Id="rId128" Type="http://schemas.openxmlformats.org/officeDocument/2006/relationships/customXml" Target="../ink/ink362.xml"/><Relationship Id="rId149" Type="http://schemas.openxmlformats.org/officeDocument/2006/relationships/image" Target="../media/image300.png"/><Relationship Id="rId5" Type="http://schemas.openxmlformats.org/officeDocument/2006/relationships/image" Target="../media/image200.png"/><Relationship Id="rId95" Type="http://schemas.openxmlformats.org/officeDocument/2006/relationships/image" Target="../media/image272.png"/><Relationship Id="rId22" Type="http://schemas.openxmlformats.org/officeDocument/2006/relationships/customXml" Target="../ink/ink309.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322.xml"/><Relationship Id="rId64" Type="http://schemas.openxmlformats.org/officeDocument/2006/relationships/customXml" Target="../ink/ink330.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357.xml"/><Relationship Id="rId134" Type="http://schemas.openxmlformats.org/officeDocument/2006/relationships/customXml" Target="../ink/ink365.xml"/><Relationship Id="rId139" Type="http://schemas.openxmlformats.org/officeDocument/2006/relationships/image" Target="../media/image295.png"/><Relationship Id="rId80" Type="http://schemas.openxmlformats.org/officeDocument/2006/relationships/customXml" Target="../ink/ink338.xml"/><Relationship Id="rId85" Type="http://schemas.openxmlformats.org/officeDocument/2006/relationships/image" Target="../media/image267.png"/><Relationship Id="rId150" Type="http://schemas.openxmlformats.org/officeDocument/2006/relationships/customXml" Target="../ink/ink373.xml"/><Relationship Id="rId155" Type="http://schemas.openxmlformats.org/officeDocument/2006/relationships/image" Target="../media/image303.png"/><Relationship Id="rId12" Type="http://schemas.openxmlformats.org/officeDocument/2006/relationships/customXml" Target="../ink/ink304.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317.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352.xml"/><Relationship Id="rId124" Type="http://schemas.openxmlformats.org/officeDocument/2006/relationships/customXml" Target="../ink/ink360.xml"/><Relationship Id="rId129" Type="http://schemas.openxmlformats.org/officeDocument/2006/relationships/image" Target="../media/image290.png"/><Relationship Id="rId54" Type="http://schemas.openxmlformats.org/officeDocument/2006/relationships/customXml" Target="../ink/ink325.xml"/><Relationship Id="rId70" Type="http://schemas.openxmlformats.org/officeDocument/2006/relationships/customXml" Target="../ink/ink333.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346.xml"/><Relationship Id="rId140" Type="http://schemas.openxmlformats.org/officeDocument/2006/relationships/customXml" Target="../ink/ink368.xml"/><Relationship Id="rId145" Type="http://schemas.openxmlformats.org/officeDocument/2006/relationships/image" Target="../media/image298.png"/><Relationship Id="rId1" Type="http://schemas.openxmlformats.org/officeDocument/2006/relationships/slideLayout" Target="../slideLayouts/slideLayout5.xml"/><Relationship Id="rId6" Type="http://schemas.openxmlformats.org/officeDocument/2006/relationships/customXml" Target="../ink/ink301.xml"/><Relationship Id="rId23" Type="http://schemas.openxmlformats.org/officeDocument/2006/relationships/image" Target="../media/image209.png"/><Relationship Id="rId28" Type="http://schemas.openxmlformats.org/officeDocument/2006/relationships/customXml" Target="../ink/ink312.xml"/><Relationship Id="rId49" Type="http://schemas.openxmlformats.org/officeDocument/2006/relationships/image" Target="../media/image221.png"/><Relationship Id="rId114" Type="http://schemas.openxmlformats.org/officeDocument/2006/relationships/customXml" Target="../ink/ink355.xml"/><Relationship Id="rId119" Type="http://schemas.openxmlformats.org/officeDocument/2006/relationships/image" Target="../media/image282.png"/><Relationship Id="rId44" Type="http://schemas.openxmlformats.org/officeDocument/2006/relationships/customXml" Target="../ink/ink320.xml"/><Relationship Id="rId60" Type="http://schemas.openxmlformats.org/officeDocument/2006/relationships/customXml" Target="../ink/ink328.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341.xml"/><Relationship Id="rId130" Type="http://schemas.openxmlformats.org/officeDocument/2006/relationships/customXml" Target="../ink/ink363.xml"/><Relationship Id="rId135" Type="http://schemas.openxmlformats.org/officeDocument/2006/relationships/image" Target="../media/image293.png"/><Relationship Id="rId151" Type="http://schemas.openxmlformats.org/officeDocument/2006/relationships/image" Target="../media/image301.png"/><Relationship Id="rId13" Type="http://schemas.openxmlformats.org/officeDocument/2006/relationships/image" Target="../media/image204.png"/><Relationship Id="rId18" Type="http://schemas.openxmlformats.org/officeDocument/2006/relationships/customXml" Target="../ink/ink307.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15.xml"/><Relationship Id="rId50" Type="http://schemas.openxmlformats.org/officeDocument/2006/relationships/customXml" Target="../ink/ink323.xml"/><Relationship Id="rId55" Type="http://schemas.openxmlformats.org/officeDocument/2006/relationships/image" Target="../media/image223.png"/><Relationship Id="rId76" Type="http://schemas.openxmlformats.org/officeDocument/2006/relationships/customXml" Target="../ink/ink336.xml"/><Relationship Id="rId97" Type="http://schemas.openxmlformats.org/officeDocument/2006/relationships/image" Target="../media/image273.png"/><Relationship Id="rId104" Type="http://schemas.openxmlformats.org/officeDocument/2006/relationships/customXml" Target="../ink/ink350.xml"/><Relationship Id="rId120" Type="http://schemas.openxmlformats.org/officeDocument/2006/relationships/customXml" Target="../ink/ink358.xml"/><Relationship Id="rId125" Type="http://schemas.openxmlformats.org/officeDocument/2006/relationships/image" Target="../media/image285.png"/><Relationship Id="rId141" Type="http://schemas.openxmlformats.org/officeDocument/2006/relationships/image" Target="../media/image296.png"/><Relationship Id="rId146" Type="http://schemas.openxmlformats.org/officeDocument/2006/relationships/customXml" Target="../ink/ink371.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344.xml"/><Relationship Id="rId2" Type="http://schemas.openxmlformats.org/officeDocument/2006/relationships/notesSlide" Target="../notesSlides/notesSlide72.xml"/><Relationship Id="rId29" Type="http://schemas.openxmlformats.org/officeDocument/2006/relationships/image" Target="../media/image212.png"/><Relationship Id="rId24" Type="http://schemas.openxmlformats.org/officeDocument/2006/relationships/customXml" Target="../ink/ink310.xml"/><Relationship Id="rId40" Type="http://schemas.openxmlformats.org/officeDocument/2006/relationships/customXml" Target="../ink/ink318.xml"/><Relationship Id="rId45" Type="http://schemas.openxmlformats.org/officeDocument/2006/relationships/image" Target="../media/image88.png"/><Relationship Id="rId66" Type="http://schemas.openxmlformats.org/officeDocument/2006/relationships/customXml" Target="../ink/ink331.xml"/><Relationship Id="rId87" Type="http://schemas.openxmlformats.org/officeDocument/2006/relationships/image" Target="../media/image268.png"/><Relationship Id="rId110" Type="http://schemas.openxmlformats.org/officeDocument/2006/relationships/customXml" Target="../ink/ink353.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366.xml"/><Relationship Id="rId61" Type="http://schemas.openxmlformats.org/officeDocument/2006/relationships/image" Target="../media/image226.png"/><Relationship Id="rId82" Type="http://schemas.openxmlformats.org/officeDocument/2006/relationships/customXml" Target="../ink/ink339.xml"/><Relationship Id="rId152" Type="http://schemas.openxmlformats.org/officeDocument/2006/relationships/customXml" Target="../ink/ink374.xml"/><Relationship Id="rId19" Type="http://schemas.openxmlformats.org/officeDocument/2006/relationships/image" Target="../media/image207.png"/><Relationship Id="rId14" Type="http://schemas.openxmlformats.org/officeDocument/2006/relationships/customXml" Target="../ink/ink305.xml"/><Relationship Id="rId30" Type="http://schemas.openxmlformats.org/officeDocument/2006/relationships/customXml" Target="../ink/ink313.xml"/><Relationship Id="rId35" Type="http://schemas.openxmlformats.org/officeDocument/2006/relationships/image" Target="../media/image215.png"/><Relationship Id="rId56" Type="http://schemas.openxmlformats.org/officeDocument/2006/relationships/customXml" Target="../ink/ink326.xml"/><Relationship Id="rId77" Type="http://schemas.openxmlformats.org/officeDocument/2006/relationships/image" Target="../media/image263.png"/><Relationship Id="rId100" Type="http://schemas.openxmlformats.org/officeDocument/2006/relationships/customXml" Target="../ink/ink348.xml"/><Relationship Id="rId105" Type="http://schemas.openxmlformats.org/officeDocument/2006/relationships/image" Target="../media/image276.png"/><Relationship Id="rId126" Type="http://schemas.openxmlformats.org/officeDocument/2006/relationships/customXml" Target="../ink/ink361.xml"/><Relationship Id="rId147" Type="http://schemas.openxmlformats.org/officeDocument/2006/relationships/image" Target="../media/image299.png"/><Relationship Id="rId8" Type="http://schemas.openxmlformats.org/officeDocument/2006/relationships/customXml" Target="../ink/ink302.xml"/><Relationship Id="rId51" Type="http://schemas.openxmlformats.org/officeDocument/2006/relationships/image" Target="../media/image91.png"/><Relationship Id="rId72" Type="http://schemas.openxmlformats.org/officeDocument/2006/relationships/customXml" Target="../ink/ink334.xml"/><Relationship Id="rId93" Type="http://schemas.openxmlformats.org/officeDocument/2006/relationships/image" Target="../media/image271.png"/><Relationship Id="rId98" Type="http://schemas.openxmlformats.org/officeDocument/2006/relationships/customXml" Target="../ink/ink347.xml"/><Relationship Id="rId121" Type="http://schemas.openxmlformats.org/officeDocument/2006/relationships/image" Target="../media/image283.png"/><Relationship Id="rId142" Type="http://schemas.openxmlformats.org/officeDocument/2006/relationships/customXml" Target="../ink/ink369.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321.xml"/><Relationship Id="rId67" Type="http://schemas.openxmlformats.org/officeDocument/2006/relationships/image" Target="../media/image229.png"/><Relationship Id="rId116" Type="http://schemas.openxmlformats.org/officeDocument/2006/relationships/customXml" Target="../ink/ink356.xml"/><Relationship Id="rId137" Type="http://schemas.openxmlformats.org/officeDocument/2006/relationships/image" Target="../media/image294.png"/><Relationship Id="rId20" Type="http://schemas.openxmlformats.org/officeDocument/2006/relationships/customXml" Target="../ink/ink308.xml"/><Relationship Id="rId41" Type="http://schemas.openxmlformats.org/officeDocument/2006/relationships/image" Target="../media/image218.png"/><Relationship Id="rId62" Type="http://schemas.openxmlformats.org/officeDocument/2006/relationships/customXml" Target="../ink/ink329.xml"/><Relationship Id="rId83" Type="http://schemas.openxmlformats.org/officeDocument/2006/relationships/image" Target="../media/image266.png"/><Relationship Id="rId88" Type="http://schemas.openxmlformats.org/officeDocument/2006/relationships/customXml" Target="../ink/ink342.xml"/><Relationship Id="rId111" Type="http://schemas.openxmlformats.org/officeDocument/2006/relationships/image" Target="../media/image278.png"/><Relationship Id="rId132" Type="http://schemas.openxmlformats.org/officeDocument/2006/relationships/customXml" Target="../ink/ink364.xml"/><Relationship Id="rId153" Type="http://schemas.openxmlformats.org/officeDocument/2006/relationships/image" Target="../media/image302.png"/><Relationship Id="rId15" Type="http://schemas.openxmlformats.org/officeDocument/2006/relationships/image" Target="../media/image205.png"/><Relationship Id="rId36" Type="http://schemas.openxmlformats.org/officeDocument/2006/relationships/customXml" Target="../ink/ink316.xml"/><Relationship Id="rId57" Type="http://schemas.openxmlformats.org/officeDocument/2006/relationships/image" Target="../media/image224.png"/><Relationship Id="rId106" Type="http://schemas.openxmlformats.org/officeDocument/2006/relationships/customXml" Target="../ink/ink351.xml"/><Relationship Id="rId127" Type="http://schemas.openxmlformats.org/officeDocument/2006/relationships/image" Target="../media/image289.png"/><Relationship Id="rId10" Type="http://schemas.openxmlformats.org/officeDocument/2006/relationships/customXml" Target="../ink/ink303.xml"/><Relationship Id="rId31" Type="http://schemas.openxmlformats.org/officeDocument/2006/relationships/image" Target="../media/image213.png"/><Relationship Id="rId52" Type="http://schemas.openxmlformats.org/officeDocument/2006/relationships/customXml" Target="../ink/ink324.xml"/><Relationship Id="rId73" Type="http://schemas.openxmlformats.org/officeDocument/2006/relationships/image" Target="../media/image261.png"/><Relationship Id="rId78" Type="http://schemas.openxmlformats.org/officeDocument/2006/relationships/customXml" Target="../ink/ink337.xml"/><Relationship Id="rId94" Type="http://schemas.openxmlformats.org/officeDocument/2006/relationships/customXml" Target="../ink/ink345.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359.xml"/><Relationship Id="rId143" Type="http://schemas.openxmlformats.org/officeDocument/2006/relationships/image" Target="../media/image297.png"/><Relationship Id="rId148" Type="http://schemas.openxmlformats.org/officeDocument/2006/relationships/customXml" Target="../ink/ink372.xml"/><Relationship Id="rId4" Type="http://schemas.openxmlformats.org/officeDocument/2006/relationships/customXml" Target="../ink/ink300.xml"/><Relationship Id="rId9" Type="http://schemas.openxmlformats.org/officeDocument/2006/relationships/image" Target="../media/image202.png"/><Relationship Id="rId26" Type="http://schemas.openxmlformats.org/officeDocument/2006/relationships/customXml" Target="../ink/ink311.xml"/><Relationship Id="rId47" Type="http://schemas.openxmlformats.org/officeDocument/2006/relationships/image" Target="../media/image220.png"/><Relationship Id="rId68" Type="http://schemas.openxmlformats.org/officeDocument/2006/relationships/customXml" Target="../ink/ink332.xml"/><Relationship Id="rId89" Type="http://schemas.openxmlformats.org/officeDocument/2006/relationships/image" Target="../media/image269.png"/><Relationship Id="rId112" Type="http://schemas.openxmlformats.org/officeDocument/2006/relationships/customXml" Target="../ink/ink354.xml"/><Relationship Id="rId133" Type="http://schemas.openxmlformats.org/officeDocument/2006/relationships/image" Target="../media/image292.png"/><Relationship Id="rId154" Type="http://schemas.openxmlformats.org/officeDocument/2006/relationships/customXml" Target="../ink/ink375.xml"/><Relationship Id="rId16" Type="http://schemas.openxmlformats.org/officeDocument/2006/relationships/customXml" Target="../ink/ink306.xml"/><Relationship Id="rId37" Type="http://schemas.openxmlformats.org/officeDocument/2006/relationships/image" Target="../media/image216.png"/><Relationship Id="rId58" Type="http://schemas.openxmlformats.org/officeDocument/2006/relationships/customXml" Target="../ink/ink327.xml"/><Relationship Id="rId79" Type="http://schemas.openxmlformats.org/officeDocument/2006/relationships/image" Target="../media/image264.png"/><Relationship Id="rId102" Type="http://schemas.openxmlformats.org/officeDocument/2006/relationships/customXml" Target="../ink/ink349.xml"/><Relationship Id="rId123" Type="http://schemas.openxmlformats.org/officeDocument/2006/relationships/image" Target="../media/image284.png"/><Relationship Id="rId144" Type="http://schemas.openxmlformats.org/officeDocument/2006/relationships/customXml" Target="../ink/ink370.xml"/><Relationship Id="rId90" Type="http://schemas.openxmlformats.org/officeDocument/2006/relationships/customXml" Target="../ink/ink343.xml"/></Relationships>
</file>

<file path=ppt/slides/_rels/slide73.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95.xml"/><Relationship Id="rId63" Type="http://schemas.openxmlformats.org/officeDocument/2006/relationships/image" Target="../media/image227.png"/><Relationship Id="rId84" Type="http://schemas.openxmlformats.org/officeDocument/2006/relationships/customXml" Target="../ink/ink416.xml"/><Relationship Id="rId138" Type="http://schemas.openxmlformats.org/officeDocument/2006/relationships/customXml" Target="../ink/ink443.xml"/><Relationship Id="rId159" Type="http://schemas.openxmlformats.org/officeDocument/2006/relationships/image" Target="../media/image317.png"/><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90.xml"/><Relationship Id="rId53" Type="http://schemas.openxmlformats.org/officeDocument/2006/relationships/image" Target="../media/image222.png"/><Relationship Id="rId74" Type="http://schemas.openxmlformats.org/officeDocument/2006/relationships/customXml" Target="../ink/ink411.xml"/><Relationship Id="rId128" Type="http://schemas.openxmlformats.org/officeDocument/2006/relationships/customXml" Target="../ink/ink438.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454.xml"/><Relationship Id="rId22" Type="http://schemas.openxmlformats.org/officeDocument/2006/relationships/customXml" Target="../ink/ink385.xml"/><Relationship Id="rId43" Type="http://schemas.openxmlformats.org/officeDocument/2006/relationships/image" Target="../media/image219.png"/><Relationship Id="rId64" Type="http://schemas.openxmlformats.org/officeDocument/2006/relationships/customXml" Target="../ink/ink406.xml"/><Relationship Id="rId118" Type="http://schemas.openxmlformats.org/officeDocument/2006/relationships/customXml" Target="../ink/ink433.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449.xml"/><Relationship Id="rId12" Type="http://schemas.openxmlformats.org/officeDocument/2006/relationships/customXml" Target="../ink/ink380.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393.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428.xml"/><Relationship Id="rId124" Type="http://schemas.openxmlformats.org/officeDocument/2006/relationships/customXml" Target="../ink/ink436.xml"/><Relationship Id="rId129" Type="http://schemas.openxmlformats.org/officeDocument/2006/relationships/image" Target="../media/image290.png"/><Relationship Id="rId54" Type="http://schemas.openxmlformats.org/officeDocument/2006/relationships/customXml" Target="../ink/ink401.xml"/><Relationship Id="rId70" Type="http://schemas.openxmlformats.org/officeDocument/2006/relationships/customXml" Target="../ink/ink409.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422.xml"/><Relationship Id="rId140" Type="http://schemas.openxmlformats.org/officeDocument/2006/relationships/customXml" Target="../ink/ink444.xml"/><Relationship Id="rId145" Type="http://schemas.openxmlformats.org/officeDocument/2006/relationships/image" Target="../media/image310.png"/><Relationship Id="rId161" Type="http://schemas.openxmlformats.org/officeDocument/2006/relationships/image" Target="../media/image318.png"/><Relationship Id="rId1" Type="http://schemas.openxmlformats.org/officeDocument/2006/relationships/slideLayout" Target="../slideLayouts/slideLayout5.xml"/><Relationship Id="rId6" Type="http://schemas.openxmlformats.org/officeDocument/2006/relationships/customXml" Target="../ink/ink377.xml"/><Relationship Id="rId23" Type="http://schemas.openxmlformats.org/officeDocument/2006/relationships/image" Target="../media/image209.png"/><Relationship Id="rId28" Type="http://schemas.openxmlformats.org/officeDocument/2006/relationships/customXml" Target="../ink/ink388.xml"/><Relationship Id="rId49" Type="http://schemas.openxmlformats.org/officeDocument/2006/relationships/image" Target="../media/image221.png"/><Relationship Id="rId114" Type="http://schemas.openxmlformats.org/officeDocument/2006/relationships/customXml" Target="../ink/ink431.xml"/><Relationship Id="rId119" Type="http://schemas.openxmlformats.org/officeDocument/2006/relationships/image" Target="../media/image282.png"/><Relationship Id="rId44" Type="http://schemas.openxmlformats.org/officeDocument/2006/relationships/customXml" Target="../ink/ink396.xml"/><Relationship Id="rId60" Type="http://schemas.openxmlformats.org/officeDocument/2006/relationships/customXml" Target="../ink/ink404.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417.xml"/><Relationship Id="rId130" Type="http://schemas.openxmlformats.org/officeDocument/2006/relationships/customXml" Target="../ink/ink439.xml"/><Relationship Id="rId135" Type="http://schemas.openxmlformats.org/officeDocument/2006/relationships/image" Target="../media/image305.png"/><Relationship Id="rId151" Type="http://schemas.openxmlformats.org/officeDocument/2006/relationships/image" Target="../media/image313.png"/><Relationship Id="rId156" Type="http://schemas.openxmlformats.org/officeDocument/2006/relationships/customXml" Target="../ink/ink452.xml"/><Relationship Id="rId13" Type="http://schemas.openxmlformats.org/officeDocument/2006/relationships/image" Target="../media/image204.png"/><Relationship Id="rId18" Type="http://schemas.openxmlformats.org/officeDocument/2006/relationships/customXml" Target="../ink/ink38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91.xml"/><Relationship Id="rId50" Type="http://schemas.openxmlformats.org/officeDocument/2006/relationships/customXml" Target="../ink/ink399.xml"/><Relationship Id="rId55" Type="http://schemas.openxmlformats.org/officeDocument/2006/relationships/image" Target="../media/image223.png"/><Relationship Id="rId76" Type="http://schemas.openxmlformats.org/officeDocument/2006/relationships/customXml" Target="../ink/ink412.xml"/><Relationship Id="rId97" Type="http://schemas.openxmlformats.org/officeDocument/2006/relationships/image" Target="../media/image273.png"/><Relationship Id="rId104" Type="http://schemas.openxmlformats.org/officeDocument/2006/relationships/customXml" Target="../ink/ink426.xml"/><Relationship Id="rId120" Type="http://schemas.openxmlformats.org/officeDocument/2006/relationships/customXml" Target="../ink/ink434.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4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20.xml"/><Relationship Id="rId2" Type="http://schemas.openxmlformats.org/officeDocument/2006/relationships/notesSlide" Target="../notesSlides/notesSlide73.xml"/><Relationship Id="rId29" Type="http://schemas.openxmlformats.org/officeDocument/2006/relationships/image" Target="../media/image212.png"/><Relationship Id="rId24" Type="http://schemas.openxmlformats.org/officeDocument/2006/relationships/customXml" Target="../ink/ink386.xml"/><Relationship Id="rId40" Type="http://schemas.openxmlformats.org/officeDocument/2006/relationships/customXml" Target="../ink/ink394.xml"/><Relationship Id="rId45" Type="http://schemas.openxmlformats.org/officeDocument/2006/relationships/image" Target="../media/image88.png"/><Relationship Id="rId66" Type="http://schemas.openxmlformats.org/officeDocument/2006/relationships/customXml" Target="../ink/ink407.xml"/><Relationship Id="rId87" Type="http://schemas.openxmlformats.org/officeDocument/2006/relationships/image" Target="../media/image268.png"/><Relationship Id="rId110" Type="http://schemas.openxmlformats.org/officeDocument/2006/relationships/customXml" Target="../ink/ink429.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442.xml"/><Relationship Id="rId157" Type="http://schemas.openxmlformats.org/officeDocument/2006/relationships/image" Target="../media/image316.png"/><Relationship Id="rId61" Type="http://schemas.openxmlformats.org/officeDocument/2006/relationships/image" Target="../media/image226.png"/><Relationship Id="rId82" Type="http://schemas.openxmlformats.org/officeDocument/2006/relationships/customXml" Target="../ink/ink415.xml"/><Relationship Id="rId152" Type="http://schemas.openxmlformats.org/officeDocument/2006/relationships/customXml" Target="../ink/ink450.xml"/><Relationship Id="rId19" Type="http://schemas.openxmlformats.org/officeDocument/2006/relationships/image" Target="../media/image207.png"/><Relationship Id="rId14" Type="http://schemas.openxmlformats.org/officeDocument/2006/relationships/customXml" Target="../ink/ink381.xml"/><Relationship Id="rId30" Type="http://schemas.openxmlformats.org/officeDocument/2006/relationships/customXml" Target="../ink/ink389.xml"/><Relationship Id="rId35" Type="http://schemas.openxmlformats.org/officeDocument/2006/relationships/image" Target="../media/image215.png"/><Relationship Id="rId56" Type="http://schemas.openxmlformats.org/officeDocument/2006/relationships/customXml" Target="../ink/ink402.xml"/><Relationship Id="rId77" Type="http://schemas.openxmlformats.org/officeDocument/2006/relationships/image" Target="../media/image263.png"/><Relationship Id="rId100" Type="http://schemas.openxmlformats.org/officeDocument/2006/relationships/customXml" Target="../ink/ink424.xml"/><Relationship Id="rId105" Type="http://schemas.openxmlformats.org/officeDocument/2006/relationships/image" Target="../media/image276.png"/><Relationship Id="rId126" Type="http://schemas.openxmlformats.org/officeDocument/2006/relationships/customXml" Target="../ink/ink437.xml"/><Relationship Id="rId147" Type="http://schemas.openxmlformats.org/officeDocument/2006/relationships/image" Target="../media/image311.png"/><Relationship Id="rId8" Type="http://schemas.openxmlformats.org/officeDocument/2006/relationships/customXml" Target="../ink/ink378.xml"/><Relationship Id="rId51" Type="http://schemas.openxmlformats.org/officeDocument/2006/relationships/image" Target="../media/image91.png"/><Relationship Id="rId72" Type="http://schemas.openxmlformats.org/officeDocument/2006/relationships/customXml" Target="../ink/ink410.xml"/><Relationship Id="rId93" Type="http://schemas.openxmlformats.org/officeDocument/2006/relationships/image" Target="../media/image271.png"/><Relationship Id="rId98" Type="http://schemas.openxmlformats.org/officeDocument/2006/relationships/customXml" Target="../ink/ink423.xml"/><Relationship Id="rId121" Type="http://schemas.openxmlformats.org/officeDocument/2006/relationships/image" Target="../media/image283.png"/><Relationship Id="rId142" Type="http://schemas.openxmlformats.org/officeDocument/2006/relationships/customXml" Target="../ink/ink445.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397.xml"/><Relationship Id="rId67" Type="http://schemas.openxmlformats.org/officeDocument/2006/relationships/image" Target="../media/image229.png"/><Relationship Id="rId116" Type="http://schemas.openxmlformats.org/officeDocument/2006/relationships/customXml" Target="../ink/ink432.xml"/><Relationship Id="rId137" Type="http://schemas.openxmlformats.org/officeDocument/2006/relationships/image" Target="../media/image306.png"/><Relationship Id="rId158" Type="http://schemas.openxmlformats.org/officeDocument/2006/relationships/customXml" Target="../ink/ink453.xml"/><Relationship Id="rId20" Type="http://schemas.openxmlformats.org/officeDocument/2006/relationships/customXml" Target="../ink/ink384.xml"/><Relationship Id="rId41" Type="http://schemas.openxmlformats.org/officeDocument/2006/relationships/image" Target="../media/image218.png"/><Relationship Id="rId62" Type="http://schemas.openxmlformats.org/officeDocument/2006/relationships/customXml" Target="../ink/ink405.xml"/><Relationship Id="rId83" Type="http://schemas.openxmlformats.org/officeDocument/2006/relationships/image" Target="../media/image266.png"/><Relationship Id="rId88" Type="http://schemas.openxmlformats.org/officeDocument/2006/relationships/customXml" Target="../ink/ink418.xml"/><Relationship Id="rId111" Type="http://schemas.openxmlformats.org/officeDocument/2006/relationships/image" Target="../media/image278.png"/><Relationship Id="rId132" Type="http://schemas.openxmlformats.org/officeDocument/2006/relationships/customXml" Target="../ink/ink440.xml"/><Relationship Id="rId153" Type="http://schemas.openxmlformats.org/officeDocument/2006/relationships/image" Target="../media/image314.png"/><Relationship Id="rId15" Type="http://schemas.openxmlformats.org/officeDocument/2006/relationships/image" Target="../media/image205.png"/><Relationship Id="rId36" Type="http://schemas.openxmlformats.org/officeDocument/2006/relationships/customXml" Target="../ink/ink392.xml"/><Relationship Id="rId57" Type="http://schemas.openxmlformats.org/officeDocument/2006/relationships/image" Target="../media/image224.png"/><Relationship Id="rId106" Type="http://schemas.openxmlformats.org/officeDocument/2006/relationships/customXml" Target="../ink/ink427.xml"/><Relationship Id="rId127" Type="http://schemas.openxmlformats.org/officeDocument/2006/relationships/image" Target="../media/image289.png"/><Relationship Id="rId10" Type="http://schemas.openxmlformats.org/officeDocument/2006/relationships/customXml" Target="../ink/ink379.xml"/><Relationship Id="rId31" Type="http://schemas.openxmlformats.org/officeDocument/2006/relationships/image" Target="../media/image213.png"/><Relationship Id="rId52" Type="http://schemas.openxmlformats.org/officeDocument/2006/relationships/customXml" Target="../ink/ink400.xml"/><Relationship Id="rId73" Type="http://schemas.openxmlformats.org/officeDocument/2006/relationships/image" Target="../media/image261.png"/><Relationship Id="rId78" Type="http://schemas.openxmlformats.org/officeDocument/2006/relationships/customXml" Target="../ink/ink413.xml"/><Relationship Id="rId94" Type="http://schemas.openxmlformats.org/officeDocument/2006/relationships/customXml" Target="../ink/ink42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435.xml"/><Relationship Id="rId143" Type="http://schemas.openxmlformats.org/officeDocument/2006/relationships/image" Target="../media/image309.png"/><Relationship Id="rId148" Type="http://schemas.openxmlformats.org/officeDocument/2006/relationships/customXml" Target="../ink/ink448.xml"/><Relationship Id="rId4" Type="http://schemas.openxmlformats.org/officeDocument/2006/relationships/customXml" Target="../ink/ink376.xml"/><Relationship Id="rId9" Type="http://schemas.openxmlformats.org/officeDocument/2006/relationships/image" Target="../media/image202.png"/><Relationship Id="rId26" Type="http://schemas.openxmlformats.org/officeDocument/2006/relationships/customXml" Target="../ink/ink387.xml"/><Relationship Id="rId47" Type="http://schemas.openxmlformats.org/officeDocument/2006/relationships/image" Target="../media/image220.png"/><Relationship Id="rId68" Type="http://schemas.openxmlformats.org/officeDocument/2006/relationships/customXml" Target="../ink/ink408.xml"/><Relationship Id="rId89" Type="http://schemas.openxmlformats.org/officeDocument/2006/relationships/image" Target="../media/image269.png"/><Relationship Id="rId112" Type="http://schemas.openxmlformats.org/officeDocument/2006/relationships/customXml" Target="../ink/ink430.xml"/><Relationship Id="rId133" Type="http://schemas.openxmlformats.org/officeDocument/2006/relationships/image" Target="../media/image304.png"/><Relationship Id="rId154" Type="http://schemas.openxmlformats.org/officeDocument/2006/relationships/customXml" Target="../ink/ink451.xml"/><Relationship Id="rId16" Type="http://schemas.openxmlformats.org/officeDocument/2006/relationships/customXml" Target="../ink/ink382.xml"/><Relationship Id="rId37" Type="http://schemas.openxmlformats.org/officeDocument/2006/relationships/image" Target="../media/image216.png"/><Relationship Id="rId58" Type="http://schemas.openxmlformats.org/officeDocument/2006/relationships/customXml" Target="../ink/ink403.xml"/><Relationship Id="rId79" Type="http://schemas.openxmlformats.org/officeDocument/2006/relationships/image" Target="../media/image264.png"/><Relationship Id="rId102" Type="http://schemas.openxmlformats.org/officeDocument/2006/relationships/customXml" Target="../ink/ink425.xml"/><Relationship Id="rId123" Type="http://schemas.openxmlformats.org/officeDocument/2006/relationships/image" Target="../media/image284.png"/><Relationship Id="rId144" Type="http://schemas.openxmlformats.org/officeDocument/2006/relationships/customXml" Target="../ink/ink446.xml"/><Relationship Id="rId90" Type="http://schemas.openxmlformats.org/officeDocument/2006/relationships/customXml" Target="../ink/ink419.xml"/><Relationship Id="rId27" Type="http://schemas.openxmlformats.org/officeDocument/2006/relationships/image" Target="../media/image211.png"/><Relationship Id="rId48" Type="http://schemas.openxmlformats.org/officeDocument/2006/relationships/customXml" Target="../ink/ink398.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441.xml"/><Relationship Id="rId80" Type="http://schemas.openxmlformats.org/officeDocument/2006/relationships/customXml" Target="../ink/ink414.xml"/><Relationship Id="rId155" Type="http://schemas.openxmlformats.org/officeDocument/2006/relationships/image" Target="../media/image315.png"/></Relationships>
</file>

<file path=ppt/slides/_rels/slide74.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474.xml"/><Relationship Id="rId63" Type="http://schemas.openxmlformats.org/officeDocument/2006/relationships/image" Target="../media/image227.png"/><Relationship Id="rId84" Type="http://schemas.openxmlformats.org/officeDocument/2006/relationships/customXml" Target="../ink/ink495.xml"/><Relationship Id="rId138" Type="http://schemas.openxmlformats.org/officeDocument/2006/relationships/customXml" Target="../ink/ink522.xml"/><Relationship Id="rId159" Type="http://schemas.openxmlformats.org/officeDocument/2006/relationships/image" Target="../media/image320.png"/><Relationship Id="rId170" Type="http://schemas.openxmlformats.org/officeDocument/2006/relationships/customXml" Target="../ink/ink538.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469.xml"/><Relationship Id="rId53" Type="http://schemas.openxmlformats.org/officeDocument/2006/relationships/image" Target="../media/image222.png"/><Relationship Id="rId74" Type="http://schemas.openxmlformats.org/officeDocument/2006/relationships/customXml" Target="../ink/ink490.xml"/><Relationship Id="rId128" Type="http://schemas.openxmlformats.org/officeDocument/2006/relationships/customXml" Target="../ink/ink517.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533.xml"/><Relationship Id="rId181" Type="http://schemas.openxmlformats.org/officeDocument/2006/relationships/image" Target="../media/image331.png"/><Relationship Id="rId22" Type="http://schemas.openxmlformats.org/officeDocument/2006/relationships/customXml" Target="../ink/ink464.xml"/><Relationship Id="rId43" Type="http://schemas.openxmlformats.org/officeDocument/2006/relationships/image" Target="../media/image219.png"/><Relationship Id="rId64" Type="http://schemas.openxmlformats.org/officeDocument/2006/relationships/customXml" Target="../ink/ink485.xml"/><Relationship Id="rId118" Type="http://schemas.openxmlformats.org/officeDocument/2006/relationships/customXml" Target="../ink/ink512.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528.xml"/><Relationship Id="rId171" Type="http://schemas.openxmlformats.org/officeDocument/2006/relationships/image" Target="../media/image326.png"/><Relationship Id="rId12" Type="http://schemas.openxmlformats.org/officeDocument/2006/relationships/customXml" Target="../ink/ink459.xml"/><Relationship Id="rId33" Type="http://schemas.openxmlformats.org/officeDocument/2006/relationships/image" Target="../media/image214.png"/><Relationship Id="rId108" Type="http://schemas.openxmlformats.org/officeDocument/2006/relationships/customXml" Target="../ink/ink507.xml"/><Relationship Id="rId129" Type="http://schemas.openxmlformats.org/officeDocument/2006/relationships/image" Target="../media/image290.png"/><Relationship Id="rId54" Type="http://schemas.openxmlformats.org/officeDocument/2006/relationships/customXml" Target="../ink/ink480.xml"/><Relationship Id="rId75" Type="http://schemas.openxmlformats.org/officeDocument/2006/relationships/image" Target="../media/image262.png"/><Relationship Id="rId96" Type="http://schemas.openxmlformats.org/officeDocument/2006/relationships/customXml" Target="../ink/ink501.xml"/><Relationship Id="rId140" Type="http://schemas.openxmlformats.org/officeDocument/2006/relationships/customXml" Target="../ink/ink523.xml"/><Relationship Id="rId161" Type="http://schemas.openxmlformats.org/officeDocument/2006/relationships/image" Target="../media/image321.png"/><Relationship Id="rId182" Type="http://schemas.openxmlformats.org/officeDocument/2006/relationships/customXml" Target="../ink/ink544.xml"/><Relationship Id="rId6" Type="http://schemas.openxmlformats.org/officeDocument/2006/relationships/customXml" Target="../ink/ink456.xml"/><Relationship Id="rId23" Type="http://schemas.openxmlformats.org/officeDocument/2006/relationships/image" Target="../media/image209.png"/><Relationship Id="rId119" Type="http://schemas.openxmlformats.org/officeDocument/2006/relationships/image" Target="../media/image282.png"/><Relationship Id="rId44" Type="http://schemas.openxmlformats.org/officeDocument/2006/relationships/customXml" Target="../ink/ink475.xml"/><Relationship Id="rId65" Type="http://schemas.openxmlformats.org/officeDocument/2006/relationships/image" Target="../media/image228.png"/><Relationship Id="rId86" Type="http://schemas.openxmlformats.org/officeDocument/2006/relationships/customXml" Target="../ink/ink496.xml"/><Relationship Id="rId130" Type="http://schemas.openxmlformats.org/officeDocument/2006/relationships/customXml" Target="../ink/ink518.xml"/><Relationship Id="rId151" Type="http://schemas.openxmlformats.org/officeDocument/2006/relationships/image" Target="../media/image313.png"/><Relationship Id="rId172" Type="http://schemas.openxmlformats.org/officeDocument/2006/relationships/customXml" Target="../ink/ink539.xml"/><Relationship Id="rId13" Type="http://schemas.openxmlformats.org/officeDocument/2006/relationships/image" Target="../media/image204.png"/><Relationship Id="rId18" Type="http://schemas.openxmlformats.org/officeDocument/2006/relationships/customXml" Target="../ink/ink46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470.xml"/><Relationship Id="rId50" Type="http://schemas.openxmlformats.org/officeDocument/2006/relationships/customXml" Target="../ink/ink478.xml"/><Relationship Id="rId55" Type="http://schemas.openxmlformats.org/officeDocument/2006/relationships/image" Target="../media/image223.png"/><Relationship Id="rId76" Type="http://schemas.openxmlformats.org/officeDocument/2006/relationships/customXml" Target="../ink/ink491.xml"/><Relationship Id="rId97" Type="http://schemas.openxmlformats.org/officeDocument/2006/relationships/image" Target="../media/image273.png"/><Relationship Id="rId104" Type="http://schemas.openxmlformats.org/officeDocument/2006/relationships/customXml" Target="../ink/ink505.xml"/><Relationship Id="rId120" Type="http://schemas.openxmlformats.org/officeDocument/2006/relationships/customXml" Target="../ink/ink513.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526.xml"/><Relationship Id="rId167" Type="http://schemas.openxmlformats.org/officeDocument/2006/relationships/image" Target="../media/image324.png"/><Relationship Id="rId188" Type="http://schemas.openxmlformats.org/officeDocument/2006/relationships/customXml" Target="../ink/ink5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99.xml"/><Relationship Id="rId162" Type="http://schemas.openxmlformats.org/officeDocument/2006/relationships/customXml" Target="../ink/ink534.xml"/><Relationship Id="rId183" Type="http://schemas.openxmlformats.org/officeDocument/2006/relationships/image" Target="../media/image332.png"/><Relationship Id="rId2" Type="http://schemas.openxmlformats.org/officeDocument/2006/relationships/notesSlide" Target="../notesSlides/notesSlide74.xml"/><Relationship Id="rId29" Type="http://schemas.openxmlformats.org/officeDocument/2006/relationships/image" Target="../media/image212.png"/><Relationship Id="rId24" Type="http://schemas.openxmlformats.org/officeDocument/2006/relationships/customXml" Target="../ink/ink465.xml"/><Relationship Id="rId40" Type="http://schemas.openxmlformats.org/officeDocument/2006/relationships/customXml" Target="../ink/ink473.xml"/><Relationship Id="rId45" Type="http://schemas.openxmlformats.org/officeDocument/2006/relationships/image" Target="../media/image88.png"/><Relationship Id="rId66" Type="http://schemas.openxmlformats.org/officeDocument/2006/relationships/customXml" Target="../ink/ink486.xml"/><Relationship Id="rId87" Type="http://schemas.openxmlformats.org/officeDocument/2006/relationships/image" Target="../media/image268.png"/><Relationship Id="rId110" Type="http://schemas.openxmlformats.org/officeDocument/2006/relationships/customXml" Target="../ink/ink508.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521.xml"/><Relationship Id="rId157" Type="http://schemas.openxmlformats.org/officeDocument/2006/relationships/image" Target="../media/image319.png"/><Relationship Id="rId178" Type="http://schemas.openxmlformats.org/officeDocument/2006/relationships/customXml" Target="../ink/ink542.xml"/><Relationship Id="rId61" Type="http://schemas.openxmlformats.org/officeDocument/2006/relationships/image" Target="../media/image226.png"/><Relationship Id="rId82" Type="http://schemas.openxmlformats.org/officeDocument/2006/relationships/customXml" Target="../ink/ink494.xml"/><Relationship Id="rId152" Type="http://schemas.openxmlformats.org/officeDocument/2006/relationships/customXml" Target="../ink/ink529.xml"/><Relationship Id="rId173" Type="http://schemas.openxmlformats.org/officeDocument/2006/relationships/image" Target="../media/image327.png"/><Relationship Id="rId19" Type="http://schemas.openxmlformats.org/officeDocument/2006/relationships/image" Target="../media/image207.png"/><Relationship Id="rId14" Type="http://schemas.openxmlformats.org/officeDocument/2006/relationships/customXml" Target="../ink/ink460.xml"/><Relationship Id="rId30" Type="http://schemas.openxmlformats.org/officeDocument/2006/relationships/customXml" Target="../ink/ink468.xml"/><Relationship Id="rId35" Type="http://schemas.openxmlformats.org/officeDocument/2006/relationships/image" Target="../media/image215.png"/><Relationship Id="rId56" Type="http://schemas.openxmlformats.org/officeDocument/2006/relationships/customXml" Target="../ink/ink481.xml"/><Relationship Id="rId77" Type="http://schemas.openxmlformats.org/officeDocument/2006/relationships/image" Target="../media/image263.png"/><Relationship Id="rId100" Type="http://schemas.openxmlformats.org/officeDocument/2006/relationships/customXml" Target="../ink/ink503.xml"/><Relationship Id="rId105" Type="http://schemas.openxmlformats.org/officeDocument/2006/relationships/image" Target="../media/image276.png"/><Relationship Id="rId126" Type="http://schemas.openxmlformats.org/officeDocument/2006/relationships/customXml" Target="../ink/ink516.xml"/><Relationship Id="rId147" Type="http://schemas.openxmlformats.org/officeDocument/2006/relationships/image" Target="../media/image311.png"/><Relationship Id="rId168" Type="http://schemas.openxmlformats.org/officeDocument/2006/relationships/customXml" Target="../ink/ink537.xml"/><Relationship Id="rId8" Type="http://schemas.openxmlformats.org/officeDocument/2006/relationships/customXml" Target="../ink/ink457.xml"/><Relationship Id="rId51" Type="http://schemas.openxmlformats.org/officeDocument/2006/relationships/image" Target="../media/image91.png"/><Relationship Id="rId72" Type="http://schemas.openxmlformats.org/officeDocument/2006/relationships/customXml" Target="../ink/ink489.xml"/><Relationship Id="rId93" Type="http://schemas.openxmlformats.org/officeDocument/2006/relationships/image" Target="../media/image271.png"/><Relationship Id="rId98" Type="http://schemas.openxmlformats.org/officeDocument/2006/relationships/customXml" Target="../ink/ink502.xml"/><Relationship Id="rId121" Type="http://schemas.openxmlformats.org/officeDocument/2006/relationships/image" Target="../media/image283.png"/><Relationship Id="rId142" Type="http://schemas.openxmlformats.org/officeDocument/2006/relationships/customXml" Target="../ink/ink524.xml"/><Relationship Id="rId163" Type="http://schemas.openxmlformats.org/officeDocument/2006/relationships/image" Target="../media/image322.png"/><Relationship Id="rId184" Type="http://schemas.openxmlformats.org/officeDocument/2006/relationships/customXml" Target="../ink/ink545.xml"/><Relationship Id="rId189" Type="http://schemas.openxmlformats.org/officeDocument/2006/relationships/customXml" Target="../ink/ink548.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476.xml"/><Relationship Id="rId67" Type="http://schemas.openxmlformats.org/officeDocument/2006/relationships/image" Target="../media/image229.png"/><Relationship Id="rId116" Type="http://schemas.openxmlformats.org/officeDocument/2006/relationships/customXml" Target="../ink/ink511.xml"/><Relationship Id="rId137" Type="http://schemas.openxmlformats.org/officeDocument/2006/relationships/image" Target="../media/image306.png"/><Relationship Id="rId158" Type="http://schemas.openxmlformats.org/officeDocument/2006/relationships/customXml" Target="../ink/ink532.xml"/><Relationship Id="rId20" Type="http://schemas.openxmlformats.org/officeDocument/2006/relationships/customXml" Target="../ink/ink463.xml"/><Relationship Id="rId41" Type="http://schemas.openxmlformats.org/officeDocument/2006/relationships/image" Target="../media/image218.png"/><Relationship Id="rId62" Type="http://schemas.openxmlformats.org/officeDocument/2006/relationships/customXml" Target="../ink/ink484.xml"/><Relationship Id="rId83" Type="http://schemas.openxmlformats.org/officeDocument/2006/relationships/image" Target="../media/image266.png"/><Relationship Id="rId88" Type="http://schemas.openxmlformats.org/officeDocument/2006/relationships/customXml" Target="../ink/ink497.xml"/><Relationship Id="rId111" Type="http://schemas.openxmlformats.org/officeDocument/2006/relationships/image" Target="../media/image278.png"/><Relationship Id="rId132" Type="http://schemas.openxmlformats.org/officeDocument/2006/relationships/customXml" Target="../ink/ink519.xml"/><Relationship Id="rId153" Type="http://schemas.openxmlformats.org/officeDocument/2006/relationships/image" Target="../media/image314.png"/><Relationship Id="rId174" Type="http://schemas.openxmlformats.org/officeDocument/2006/relationships/customXml" Target="../ink/ink540.xml"/><Relationship Id="rId179" Type="http://schemas.openxmlformats.org/officeDocument/2006/relationships/image" Target="../media/image330.png"/><Relationship Id="rId190" Type="http://schemas.openxmlformats.org/officeDocument/2006/relationships/image" Target="../media/image335.png"/><Relationship Id="rId15" Type="http://schemas.openxmlformats.org/officeDocument/2006/relationships/image" Target="../media/image205.png"/><Relationship Id="rId36" Type="http://schemas.openxmlformats.org/officeDocument/2006/relationships/customXml" Target="../ink/ink471.xml"/><Relationship Id="rId57" Type="http://schemas.openxmlformats.org/officeDocument/2006/relationships/image" Target="../media/image224.png"/><Relationship Id="rId106" Type="http://schemas.openxmlformats.org/officeDocument/2006/relationships/customXml" Target="../ink/ink506.xml"/><Relationship Id="rId127" Type="http://schemas.openxmlformats.org/officeDocument/2006/relationships/image" Target="../media/image289.png"/><Relationship Id="rId10" Type="http://schemas.openxmlformats.org/officeDocument/2006/relationships/customXml" Target="../ink/ink458.xml"/><Relationship Id="rId31" Type="http://schemas.openxmlformats.org/officeDocument/2006/relationships/image" Target="../media/image213.png"/><Relationship Id="rId52" Type="http://schemas.openxmlformats.org/officeDocument/2006/relationships/customXml" Target="../ink/ink479.xml"/><Relationship Id="rId73" Type="http://schemas.openxmlformats.org/officeDocument/2006/relationships/image" Target="../media/image261.png"/><Relationship Id="rId78" Type="http://schemas.openxmlformats.org/officeDocument/2006/relationships/customXml" Target="../ink/ink492.xml"/><Relationship Id="rId94" Type="http://schemas.openxmlformats.org/officeDocument/2006/relationships/customXml" Target="../ink/ink500.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514.xml"/><Relationship Id="rId143" Type="http://schemas.openxmlformats.org/officeDocument/2006/relationships/image" Target="../media/image309.png"/><Relationship Id="rId148" Type="http://schemas.openxmlformats.org/officeDocument/2006/relationships/customXml" Target="../ink/ink527.xml"/><Relationship Id="rId164" Type="http://schemas.openxmlformats.org/officeDocument/2006/relationships/customXml" Target="../ink/ink535.xml"/><Relationship Id="rId169" Type="http://schemas.openxmlformats.org/officeDocument/2006/relationships/image" Target="../media/image325.png"/><Relationship Id="rId185" Type="http://schemas.openxmlformats.org/officeDocument/2006/relationships/image" Target="../media/image333.png"/><Relationship Id="rId4" Type="http://schemas.openxmlformats.org/officeDocument/2006/relationships/customXml" Target="../ink/ink455.xml"/><Relationship Id="rId9" Type="http://schemas.openxmlformats.org/officeDocument/2006/relationships/image" Target="../media/image202.png"/><Relationship Id="rId180" Type="http://schemas.openxmlformats.org/officeDocument/2006/relationships/customXml" Target="../ink/ink543.xml"/><Relationship Id="rId26" Type="http://schemas.openxmlformats.org/officeDocument/2006/relationships/customXml" Target="../ink/ink466.xml"/><Relationship Id="rId47" Type="http://schemas.openxmlformats.org/officeDocument/2006/relationships/image" Target="../media/image220.png"/><Relationship Id="rId68" Type="http://schemas.openxmlformats.org/officeDocument/2006/relationships/customXml" Target="../ink/ink487.xml"/><Relationship Id="rId89" Type="http://schemas.openxmlformats.org/officeDocument/2006/relationships/image" Target="../media/image269.png"/><Relationship Id="rId112" Type="http://schemas.openxmlformats.org/officeDocument/2006/relationships/customXml" Target="../ink/ink509.xml"/><Relationship Id="rId133" Type="http://schemas.openxmlformats.org/officeDocument/2006/relationships/image" Target="../media/image304.png"/><Relationship Id="rId154" Type="http://schemas.openxmlformats.org/officeDocument/2006/relationships/customXml" Target="../ink/ink530.xml"/><Relationship Id="rId175" Type="http://schemas.openxmlformats.org/officeDocument/2006/relationships/image" Target="../media/image328.png"/><Relationship Id="rId16" Type="http://schemas.openxmlformats.org/officeDocument/2006/relationships/customXml" Target="../ink/ink461.xml"/><Relationship Id="rId37" Type="http://schemas.openxmlformats.org/officeDocument/2006/relationships/image" Target="../media/image216.png"/><Relationship Id="rId58" Type="http://schemas.openxmlformats.org/officeDocument/2006/relationships/customXml" Target="../ink/ink482.xml"/><Relationship Id="rId79" Type="http://schemas.openxmlformats.org/officeDocument/2006/relationships/image" Target="../media/image264.png"/><Relationship Id="rId102" Type="http://schemas.openxmlformats.org/officeDocument/2006/relationships/customXml" Target="../ink/ink504.xml"/><Relationship Id="rId123" Type="http://schemas.openxmlformats.org/officeDocument/2006/relationships/image" Target="../media/image284.png"/><Relationship Id="rId144" Type="http://schemas.openxmlformats.org/officeDocument/2006/relationships/customXml" Target="../ink/ink525.xml"/><Relationship Id="rId90" Type="http://schemas.openxmlformats.org/officeDocument/2006/relationships/customXml" Target="../ink/ink498.xml"/><Relationship Id="rId165" Type="http://schemas.openxmlformats.org/officeDocument/2006/relationships/image" Target="../media/image323.png"/><Relationship Id="rId186" Type="http://schemas.openxmlformats.org/officeDocument/2006/relationships/customXml" Target="../ink/ink546.xml"/><Relationship Id="rId27" Type="http://schemas.openxmlformats.org/officeDocument/2006/relationships/image" Target="../media/image211.png"/><Relationship Id="rId48" Type="http://schemas.openxmlformats.org/officeDocument/2006/relationships/customXml" Target="../ink/ink477.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520.xml"/><Relationship Id="rId80" Type="http://schemas.openxmlformats.org/officeDocument/2006/relationships/customXml" Target="../ink/ink493.xml"/><Relationship Id="rId155" Type="http://schemas.openxmlformats.org/officeDocument/2006/relationships/image" Target="../media/image315.png"/><Relationship Id="rId176" Type="http://schemas.openxmlformats.org/officeDocument/2006/relationships/customXml" Target="../ink/ink541.xml"/><Relationship Id="rId17" Type="http://schemas.openxmlformats.org/officeDocument/2006/relationships/image" Target="../media/image206.png"/><Relationship Id="rId38" Type="http://schemas.openxmlformats.org/officeDocument/2006/relationships/customXml" Target="../ink/ink472.xml"/><Relationship Id="rId59" Type="http://schemas.openxmlformats.org/officeDocument/2006/relationships/image" Target="../media/image225.png"/><Relationship Id="rId103" Type="http://schemas.openxmlformats.org/officeDocument/2006/relationships/image" Target="../media/image275.png"/><Relationship Id="rId124" Type="http://schemas.openxmlformats.org/officeDocument/2006/relationships/customXml" Target="../ink/ink515.xml"/><Relationship Id="rId70" Type="http://schemas.openxmlformats.org/officeDocument/2006/relationships/customXml" Target="../ink/ink488.xml"/><Relationship Id="rId91" Type="http://schemas.openxmlformats.org/officeDocument/2006/relationships/image" Target="../media/image270.png"/><Relationship Id="rId145" Type="http://schemas.openxmlformats.org/officeDocument/2006/relationships/image" Target="../media/image310.png"/><Relationship Id="rId166" Type="http://schemas.openxmlformats.org/officeDocument/2006/relationships/customXml" Target="../ink/ink536.xml"/><Relationship Id="rId187" Type="http://schemas.openxmlformats.org/officeDocument/2006/relationships/image" Target="../media/image334.png"/><Relationship Id="rId1" Type="http://schemas.openxmlformats.org/officeDocument/2006/relationships/slideLayout" Target="../slideLayouts/slideLayout5.xml"/><Relationship Id="rId28" Type="http://schemas.openxmlformats.org/officeDocument/2006/relationships/customXml" Target="../ink/ink467.xml"/><Relationship Id="rId49" Type="http://schemas.openxmlformats.org/officeDocument/2006/relationships/image" Target="../media/image221.png"/><Relationship Id="rId114" Type="http://schemas.openxmlformats.org/officeDocument/2006/relationships/customXml" Target="../ink/ink510.xml"/><Relationship Id="rId60" Type="http://schemas.openxmlformats.org/officeDocument/2006/relationships/customXml" Target="../ink/ink483.xml"/><Relationship Id="rId81" Type="http://schemas.openxmlformats.org/officeDocument/2006/relationships/image" Target="../media/image265.png"/><Relationship Id="rId135" Type="http://schemas.openxmlformats.org/officeDocument/2006/relationships/image" Target="../media/image305.png"/><Relationship Id="rId156" Type="http://schemas.openxmlformats.org/officeDocument/2006/relationships/customXml" Target="../ink/ink531.xml"/><Relationship Id="rId177" Type="http://schemas.openxmlformats.org/officeDocument/2006/relationships/image" Target="../media/image329.png"/></Relationships>
</file>

<file path=ppt/slides/_rels/slide75.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568.xml"/><Relationship Id="rId63" Type="http://schemas.openxmlformats.org/officeDocument/2006/relationships/image" Target="../media/image227.png"/><Relationship Id="rId84" Type="http://schemas.openxmlformats.org/officeDocument/2006/relationships/customXml" Target="../ink/ink589.xml"/><Relationship Id="rId138" Type="http://schemas.openxmlformats.org/officeDocument/2006/relationships/customXml" Target="../ink/ink616.xml"/><Relationship Id="rId159" Type="http://schemas.openxmlformats.org/officeDocument/2006/relationships/image" Target="../media/image320.png"/><Relationship Id="rId170" Type="http://schemas.openxmlformats.org/officeDocument/2006/relationships/customXml" Target="../ink/ink632.xml"/><Relationship Id="rId191" Type="http://schemas.openxmlformats.org/officeDocument/2006/relationships/customXml" Target="../ink/ink643.xml"/><Relationship Id="rId205" Type="http://schemas.openxmlformats.org/officeDocument/2006/relationships/customXml" Target="../ink/ink650.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563.xml"/><Relationship Id="rId53" Type="http://schemas.openxmlformats.org/officeDocument/2006/relationships/image" Target="../media/image222.png"/><Relationship Id="rId74" Type="http://schemas.openxmlformats.org/officeDocument/2006/relationships/customXml" Target="../ink/ink584.xml"/><Relationship Id="rId128" Type="http://schemas.openxmlformats.org/officeDocument/2006/relationships/customXml" Target="../ink/ink611.xml"/><Relationship Id="rId149" Type="http://schemas.openxmlformats.org/officeDocument/2006/relationships/image" Target="../media/image312.png"/><Relationship Id="rId5" Type="http://schemas.openxmlformats.org/officeDocument/2006/relationships/image" Target="../media/image200.png"/><Relationship Id="rId95" Type="http://schemas.openxmlformats.org/officeDocument/2006/relationships/image" Target="../media/image272.png"/><Relationship Id="rId160" Type="http://schemas.openxmlformats.org/officeDocument/2006/relationships/customXml" Target="../ink/ink627.xml"/><Relationship Id="rId181" Type="http://schemas.openxmlformats.org/officeDocument/2006/relationships/image" Target="../media/image345.png"/><Relationship Id="rId22" Type="http://schemas.openxmlformats.org/officeDocument/2006/relationships/customXml" Target="../ink/ink558.xml"/><Relationship Id="rId43" Type="http://schemas.openxmlformats.org/officeDocument/2006/relationships/image" Target="../media/image219.png"/><Relationship Id="rId64" Type="http://schemas.openxmlformats.org/officeDocument/2006/relationships/customXml" Target="../ink/ink579.xml"/><Relationship Id="rId118" Type="http://schemas.openxmlformats.org/officeDocument/2006/relationships/customXml" Target="../ink/ink606.xml"/><Relationship Id="rId139" Type="http://schemas.openxmlformats.org/officeDocument/2006/relationships/image" Target="../media/image307.png"/><Relationship Id="rId85" Type="http://schemas.openxmlformats.org/officeDocument/2006/relationships/image" Target="../media/image267.png"/><Relationship Id="rId150" Type="http://schemas.openxmlformats.org/officeDocument/2006/relationships/customXml" Target="../ink/ink622.xml"/><Relationship Id="rId171" Type="http://schemas.openxmlformats.org/officeDocument/2006/relationships/image" Target="../media/image340.png"/><Relationship Id="rId192" Type="http://schemas.openxmlformats.org/officeDocument/2006/relationships/image" Target="../media/image350.png"/><Relationship Id="rId206" Type="http://schemas.openxmlformats.org/officeDocument/2006/relationships/image" Target="../media/image357.png"/><Relationship Id="rId12" Type="http://schemas.openxmlformats.org/officeDocument/2006/relationships/customXml" Target="../ink/ink553.xml"/><Relationship Id="rId33" Type="http://schemas.openxmlformats.org/officeDocument/2006/relationships/image" Target="../media/image214.png"/><Relationship Id="rId108" Type="http://schemas.openxmlformats.org/officeDocument/2006/relationships/customXml" Target="../ink/ink601.xml"/><Relationship Id="rId129" Type="http://schemas.openxmlformats.org/officeDocument/2006/relationships/image" Target="../media/image290.png"/><Relationship Id="rId54" Type="http://schemas.openxmlformats.org/officeDocument/2006/relationships/customXml" Target="../ink/ink574.xml"/><Relationship Id="rId75" Type="http://schemas.openxmlformats.org/officeDocument/2006/relationships/image" Target="../media/image262.png"/><Relationship Id="rId96" Type="http://schemas.openxmlformats.org/officeDocument/2006/relationships/customXml" Target="../ink/ink595.xml"/><Relationship Id="rId140" Type="http://schemas.openxmlformats.org/officeDocument/2006/relationships/customXml" Target="../ink/ink617.xml"/><Relationship Id="rId161" Type="http://schemas.openxmlformats.org/officeDocument/2006/relationships/image" Target="../media/image321.png"/><Relationship Id="rId182" Type="http://schemas.openxmlformats.org/officeDocument/2006/relationships/customXml" Target="../ink/ink638.xml"/><Relationship Id="rId6" Type="http://schemas.openxmlformats.org/officeDocument/2006/relationships/customXml" Target="../ink/ink550.xml"/><Relationship Id="rId23" Type="http://schemas.openxmlformats.org/officeDocument/2006/relationships/image" Target="../media/image209.png"/><Relationship Id="rId119" Type="http://schemas.openxmlformats.org/officeDocument/2006/relationships/image" Target="../media/image282.png"/><Relationship Id="rId44" Type="http://schemas.openxmlformats.org/officeDocument/2006/relationships/customXml" Target="../ink/ink569.xml"/><Relationship Id="rId65" Type="http://schemas.openxmlformats.org/officeDocument/2006/relationships/image" Target="../media/image228.png"/><Relationship Id="rId86" Type="http://schemas.openxmlformats.org/officeDocument/2006/relationships/customXml" Target="../ink/ink590.xml"/><Relationship Id="rId130" Type="http://schemas.openxmlformats.org/officeDocument/2006/relationships/customXml" Target="../ink/ink612.xml"/><Relationship Id="rId151" Type="http://schemas.openxmlformats.org/officeDocument/2006/relationships/image" Target="../media/image313.png"/><Relationship Id="rId172" Type="http://schemas.openxmlformats.org/officeDocument/2006/relationships/customXml" Target="../ink/ink633.xml"/><Relationship Id="rId193" Type="http://schemas.openxmlformats.org/officeDocument/2006/relationships/customXml" Target="../ink/ink644.xml"/><Relationship Id="rId13" Type="http://schemas.openxmlformats.org/officeDocument/2006/relationships/image" Target="../media/image204.png"/><Relationship Id="rId109" Type="http://schemas.openxmlformats.org/officeDocument/2006/relationships/image" Target="../media/image250.png"/><Relationship Id="rId34" Type="http://schemas.openxmlformats.org/officeDocument/2006/relationships/customXml" Target="../ink/ink564.xml"/><Relationship Id="rId55" Type="http://schemas.openxmlformats.org/officeDocument/2006/relationships/image" Target="../media/image223.png"/><Relationship Id="rId76" Type="http://schemas.openxmlformats.org/officeDocument/2006/relationships/customXml" Target="../ink/ink585.xml"/><Relationship Id="rId97" Type="http://schemas.openxmlformats.org/officeDocument/2006/relationships/image" Target="../media/image273.png"/><Relationship Id="rId120" Type="http://schemas.openxmlformats.org/officeDocument/2006/relationships/customXml" Target="../ink/ink607.xml"/><Relationship Id="rId141" Type="http://schemas.openxmlformats.org/officeDocument/2006/relationships/image" Target="../media/image308.png"/><Relationship Id="rId7" Type="http://schemas.openxmlformats.org/officeDocument/2006/relationships/image" Target="../media/image201.png"/><Relationship Id="rId162" Type="http://schemas.openxmlformats.org/officeDocument/2006/relationships/customXml" Target="../ink/ink628.xml"/><Relationship Id="rId183" Type="http://schemas.openxmlformats.org/officeDocument/2006/relationships/image" Target="../media/image346.png"/><Relationship Id="rId24" Type="http://schemas.openxmlformats.org/officeDocument/2006/relationships/customXml" Target="../ink/ink559.xml"/><Relationship Id="rId40" Type="http://schemas.openxmlformats.org/officeDocument/2006/relationships/customXml" Target="../ink/ink567.xml"/><Relationship Id="rId45" Type="http://schemas.openxmlformats.org/officeDocument/2006/relationships/image" Target="../media/image88.png"/><Relationship Id="rId66" Type="http://schemas.openxmlformats.org/officeDocument/2006/relationships/customXml" Target="../ink/ink580.xml"/><Relationship Id="rId87" Type="http://schemas.openxmlformats.org/officeDocument/2006/relationships/image" Target="../media/image268.png"/><Relationship Id="rId110" Type="http://schemas.openxmlformats.org/officeDocument/2006/relationships/customXml" Target="../ink/ink602.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615.xml"/><Relationship Id="rId157" Type="http://schemas.openxmlformats.org/officeDocument/2006/relationships/image" Target="../media/image319.png"/><Relationship Id="rId178" Type="http://schemas.openxmlformats.org/officeDocument/2006/relationships/customXml" Target="../ink/ink636.xml"/><Relationship Id="rId61" Type="http://schemas.openxmlformats.org/officeDocument/2006/relationships/image" Target="../media/image226.png"/><Relationship Id="rId82" Type="http://schemas.openxmlformats.org/officeDocument/2006/relationships/customXml" Target="../ink/ink588.xml"/><Relationship Id="rId152" Type="http://schemas.openxmlformats.org/officeDocument/2006/relationships/customXml" Target="../ink/ink623.xml"/><Relationship Id="rId173" Type="http://schemas.openxmlformats.org/officeDocument/2006/relationships/image" Target="../media/image341.png"/><Relationship Id="rId194" Type="http://schemas.openxmlformats.org/officeDocument/2006/relationships/image" Target="../media/image351.png"/><Relationship Id="rId199" Type="http://schemas.openxmlformats.org/officeDocument/2006/relationships/customXml" Target="../ink/ink647.xml"/><Relationship Id="rId203" Type="http://schemas.openxmlformats.org/officeDocument/2006/relationships/customXml" Target="../ink/ink649.xml"/><Relationship Id="rId19" Type="http://schemas.openxmlformats.org/officeDocument/2006/relationships/image" Target="../media/image207.png"/><Relationship Id="rId14" Type="http://schemas.openxmlformats.org/officeDocument/2006/relationships/customXml" Target="../ink/ink554.xml"/><Relationship Id="rId30" Type="http://schemas.openxmlformats.org/officeDocument/2006/relationships/customXml" Target="../ink/ink562.xml"/><Relationship Id="rId35" Type="http://schemas.openxmlformats.org/officeDocument/2006/relationships/image" Target="../media/image215.png"/><Relationship Id="rId56" Type="http://schemas.openxmlformats.org/officeDocument/2006/relationships/customXml" Target="../ink/ink575.xml"/><Relationship Id="rId77" Type="http://schemas.openxmlformats.org/officeDocument/2006/relationships/image" Target="../media/image263.png"/><Relationship Id="rId100" Type="http://schemas.openxmlformats.org/officeDocument/2006/relationships/customXml" Target="../ink/ink597.xml"/><Relationship Id="rId105" Type="http://schemas.openxmlformats.org/officeDocument/2006/relationships/image" Target="../media/image276.png"/><Relationship Id="rId126" Type="http://schemas.openxmlformats.org/officeDocument/2006/relationships/customXml" Target="../ink/ink610.xml"/><Relationship Id="rId147" Type="http://schemas.openxmlformats.org/officeDocument/2006/relationships/image" Target="../media/image311.png"/><Relationship Id="rId168" Type="http://schemas.openxmlformats.org/officeDocument/2006/relationships/customXml" Target="../ink/ink631.xml"/><Relationship Id="rId8" Type="http://schemas.openxmlformats.org/officeDocument/2006/relationships/customXml" Target="../ink/ink551.xml"/><Relationship Id="rId51" Type="http://schemas.openxmlformats.org/officeDocument/2006/relationships/image" Target="../media/image91.png"/><Relationship Id="rId72" Type="http://schemas.openxmlformats.org/officeDocument/2006/relationships/customXml" Target="../ink/ink583.xml"/><Relationship Id="rId93" Type="http://schemas.openxmlformats.org/officeDocument/2006/relationships/image" Target="../media/image271.png"/><Relationship Id="rId98" Type="http://schemas.openxmlformats.org/officeDocument/2006/relationships/customXml" Target="../ink/ink596.xml"/><Relationship Id="rId121" Type="http://schemas.openxmlformats.org/officeDocument/2006/relationships/image" Target="../media/image283.png"/><Relationship Id="rId142" Type="http://schemas.openxmlformats.org/officeDocument/2006/relationships/customXml" Target="../ink/ink618.xml"/><Relationship Id="rId163" Type="http://schemas.openxmlformats.org/officeDocument/2006/relationships/image" Target="../media/image336.png"/><Relationship Id="rId184" Type="http://schemas.openxmlformats.org/officeDocument/2006/relationships/customXml" Target="../ink/ink639.xml"/><Relationship Id="rId189" Type="http://schemas.openxmlformats.org/officeDocument/2006/relationships/customXml" Target="../ink/ink642.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570.xml"/><Relationship Id="rId67" Type="http://schemas.openxmlformats.org/officeDocument/2006/relationships/image" Target="../media/image229.png"/><Relationship Id="rId116" Type="http://schemas.openxmlformats.org/officeDocument/2006/relationships/customXml" Target="../ink/ink605.xml"/><Relationship Id="rId137" Type="http://schemas.openxmlformats.org/officeDocument/2006/relationships/image" Target="../media/image306.png"/><Relationship Id="rId158" Type="http://schemas.openxmlformats.org/officeDocument/2006/relationships/customXml" Target="../ink/ink626.xml"/><Relationship Id="rId20" Type="http://schemas.openxmlformats.org/officeDocument/2006/relationships/customXml" Target="../ink/ink557.xml"/><Relationship Id="rId41" Type="http://schemas.openxmlformats.org/officeDocument/2006/relationships/image" Target="../media/image218.png"/><Relationship Id="rId62" Type="http://schemas.openxmlformats.org/officeDocument/2006/relationships/customXml" Target="../ink/ink578.xml"/><Relationship Id="rId83" Type="http://schemas.openxmlformats.org/officeDocument/2006/relationships/image" Target="../media/image266.png"/><Relationship Id="rId88" Type="http://schemas.openxmlformats.org/officeDocument/2006/relationships/customXml" Target="../ink/ink591.xml"/><Relationship Id="rId111" Type="http://schemas.openxmlformats.org/officeDocument/2006/relationships/image" Target="../media/image278.png"/><Relationship Id="rId132" Type="http://schemas.openxmlformats.org/officeDocument/2006/relationships/customXml" Target="../ink/ink613.xml"/><Relationship Id="rId153" Type="http://schemas.openxmlformats.org/officeDocument/2006/relationships/image" Target="../media/image314.png"/><Relationship Id="rId174" Type="http://schemas.openxmlformats.org/officeDocument/2006/relationships/customXml" Target="../ink/ink634.xml"/><Relationship Id="rId179" Type="http://schemas.openxmlformats.org/officeDocument/2006/relationships/image" Target="../media/image344.png"/><Relationship Id="rId195" Type="http://schemas.openxmlformats.org/officeDocument/2006/relationships/customXml" Target="../ink/ink645.xml"/><Relationship Id="rId190" Type="http://schemas.openxmlformats.org/officeDocument/2006/relationships/image" Target="../media/image349.png"/><Relationship Id="rId204" Type="http://schemas.openxmlformats.org/officeDocument/2006/relationships/image" Target="../media/image356.png"/><Relationship Id="rId15" Type="http://schemas.openxmlformats.org/officeDocument/2006/relationships/image" Target="../media/image205.png"/><Relationship Id="rId36" Type="http://schemas.openxmlformats.org/officeDocument/2006/relationships/customXml" Target="../ink/ink565.xml"/><Relationship Id="rId57" Type="http://schemas.openxmlformats.org/officeDocument/2006/relationships/image" Target="../media/image224.png"/><Relationship Id="rId106" Type="http://schemas.openxmlformats.org/officeDocument/2006/relationships/customXml" Target="../ink/ink600.xml"/><Relationship Id="rId127" Type="http://schemas.openxmlformats.org/officeDocument/2006/relationships/image" Target="../media/image289.png"/><Relationship Id="rId10" Type="http://schemas.openxmlformats.org/officeDocument/2006/relationships/customXml" Target="../ink/ink552.xml"/><Relationship Id="rId31" Type="http://schemas.openxmlformats.org/officeDocument/2006/relationships/image" Target="../media/image213.png"/><Relationship Id="rId52" Type="http://schemas.openxmlformats.org/officeDocument/2006/relationships/customXml" Target="../ink/ink573.xml"/><Relationship Id="rId73" Type="http://schemas.openxmlformats.org/officeDocument/2006/relationships/image" Target="../media/image261.png"/><Relationship Id="rId78" Type="http://schemas.openxmlformats.org/officeDocument/2006/relationships/customXml" Target="../ink/ink586.xml"/><Relationship Id="rId94" Type="http://schemas.openxmlformats.org/officeDocument/2006/relationships/customXml" Target="../ink/ink594.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608.xml"/><Relationship Id="rId143" Type="http://schemas.openxmlformats.org/officeDocument/2006/relationships/image" Target="../media/image309.png"/><Relationship Id="rId148" Type="http://schemas.openxmlformats.org/officeDocument/2006/relationships/customXml" Target="../ink/ink621.xml"/><Relationship Id="rId164" Type="http://schemas.openxmlformats.org/officeDocument/2006/relationships/customXml" Target="../ink/ink629.xml"/><Relationship Id="rId169" Type="http://schemas.openxmlformats.org/officeDocument/2006/relationships/image" Target="../media/image339.png"/><Relationship Id="rId185" Type="http://schemas.openxmlformats.org/officeDocument/2006/relationships/image" Target="../media/image347.png"/><Relationship Id="rId4" Type="http://schemas.openxmlformats.org/officeDocument/2006/relationships/customXml" Target="../ink/ink549.xml"/><Relationship Id="rId9" Type="http://schemas.openxmlformats.org/officeDocument/2006/relationships/image" Target="../media/image202.png"/><Relationship Id="rId180" Type="http://schemas.openxmlformats.org/officeDocument/2006/relationships/customXml" Target="../ink/ink637.xml"/><Relationship Id="rId26" Type="http://schemas.openxmlformats.org/officeDocument/2006/relationships/customXml" Target="../ink/ink560.xml"/><Relationship Id="rId47" Type="http://schemas.openxmlformats.org/officeDocument/2006/relationships/image" Target="../media/image220.png"/><Relationship Id="rId68" Type="http://schemas.openxmlformats.org/officeDocument/2006/relationships/customXml" Target="../ink/ink581.xml"/><Relationship Id="rId89" Type="http://schemas.openxmlformats.org/officeDocument/2006/relationships/image" Target="../media/image269.png"/><Relationship Id="rId112" Type="http://schemas.openxmlformats.org/officeDocument/2006/relationships/customXml" Target="../ink/ink603.xml"/><Relationship Id="rId133" Type="http://schemas.openxmlformats.org/officeDocument/2006/relationships/image" Target="../media/image304.png"/><Relationship Id="rId154" Type="http://schemas.openxmlformats.org/officeDocument/2006/relationships/customXml" Target="../ink/ink624.xml"/><Relationship Id="rId175" Type="http://schemas.openxmlformats.org/officeDocument/2006/relationships/image" Target="../media/image342.png"/><Relationship Id="rId196" Type="http://schemas.openxmlformats.org/officeDocument/2006/relationships/image" Target="../media/image352.png"/><Relationship Id="rId200" Type="http://schemas.openxmlformats.org/officeDocument/2006/relationships/image" Target="../media/image354.png"/><Relationship Id="rId16" Type="http://schemas.openxmlformats.org/officeDocument/2006/relationships/customXml" Target="../ink/ink555.xml"/><Relationship Id="rId37" Type="http://schemas.openxmlformats.org/officeDocument/2006/relationships/image" Target="../media/image216.png"/><Relationship Id="rId58" Type="http://schemas.openxmlformats.org/officeDocument/2006/relationships/customXml" Target="../ink/ink576.xml"/><Relationship Id="rId79" Type="http://schemas.openxmlformats.org/officeDocument/2006/relationships/image" Target="../media/image264.png"/><Relationship Id="rId102" Type="http://schemas.openxmlformats.org/officeDocument/2006/relationships/customXml" Target="../ink/ink598.xml"/><Relationship Id="rId123" Type="http://schemas.openxmlformats.org/officeDocument/2006/relationships/image" Target="../media/image284.png"/><Relationship Id="rId144" Type="http://schemas.openxmlformats.org/officeDocument/2006/relationships/customXml" Target="../ink/ink619.xml"/><Relationship Id="rId90" Type="http://schemas.openxmlformats.org/officeDocument/2006/relationships/customXml" Target="../ink/ink592.xml"/><Relationship Id="rId165" Type="http://schemas.openxmlformats.org/officeDocument/2006/relationships/image" Target="../media/image337.png"/><Relationship Id="rId186" Type="http://schemas.openxmlformats.org/officeDocument/2006/relationships/customXml" Target="../ink/ink640.xml"/><Relationship Id="rId27" Type="http://schemas.openxmlformats.org/officeDocument/2006/relationships/image" Target="../media/image211.png"/><Relationship Id="rId48" Type="http://schemas.openxmlformats.org/officeDocument/2006/relationships/customXml" Target="../ink/ink571.xml"/><Relationship Id="rId69" Type="http://schemas.openxmlformats.org/officeDocument/2006/relationships/image" Target="../media/image259.png"/><Relationship Id="rId113" Type="http://schemas.openxmlformats.org/officeDocument/2006/relationships/image" Target="../media/image279.png"/><Relationship Id="rId134" Type="http://schemas.openxmlformats.org/officeDocument/2006/relationships/customXml" Target="../ink/ink614.xml"/><Relationship Id="rId80" Type="http://schemas.openxmlformats.org/officeDocument/2006/relationships/customXml" Target="../ink/ink587.xml"/><Relationship Id="rId155" Type="http://schemas.openxmlformats.org/officeDocument/2006/relationships/image" Target="../media/image315.png"/><Relationship Id="rId176" Type="http://schemas.openxmlformats.org/officeDocument/2006/relationships/customXml" Target="../ink/ink635.xml"/><Relationship Id="rId197" Type="http://schemas.openxmlformats.org/officeDocument/2006/relationships/customXml" Target="../ink/ink646.xml"/><Relationship Id="rId201" Type="http://schemas.openxmlformats.org/officeDocument/2006/relationships/customXml" Target="../ink/ink648.xml"/><Relationship Id="rId17" Type="http://schemas.openxmlformats.org/officeDocument/2006/relationships/image" Target="../media/image206.png"/><Relationship Id="rId38" Type="http://schemas.openxmlformats.org/officeDocument/2006/relationships/customXml" Target="../ink/ink566.xml"/><Relationship Id="rId59" Type="http://schemas.openxmlformats.org/officeDocument/2006/relationships/image" Target="../media/image225.png"/><Relationship Id="rId103" Type="http://schemas.openxmlformats.org/officeDocument/2006/relationships/image" Target="../media/image275.png"/><Relationship Id="rId124" Type="http://schemas.openxmlformats.org/officeDocument/2006/relationships/customXml" Target="../ink/ink609.xml"/><Relationship Id="rId70" Type="http://schemas.openxmlformats.org/officeDocument/2006/relationships/customXml" Target="../ink/ink582.xml"/><Relationship Id="rId91" Type="http://schemas.openxmlformats.org/officeDocument/2006/relationships/image" Target="../media/image270.png"/><Relationship Id="rId145" Type="http://schemas.openxmlformats.org/officeDocument/2006/relationships/image" Target="../media/image310.png"/><Relationship Id="rId166" Type="http://schemas.openxmlformats.org/officeDocument/2006/relationships/customXml" Target="../ink/ink630.xml"/><Relationship Id="rId187" Type="http://schemas.openxmlformats.org/officeDocument/2006/relationships/image" Target="../media/image348.png"/><Relationship Id="rId1" Type="http://schemas.openxmlformats.org/officeDocument/2006/relationships/slideLayout" Target="../slideLayouts/slideLayout5.xml"/><Relationship Id="rId28" Type="http://schemas.openxmlformats.org/officeDocument/2006/relationships/customXml" Target="../ink/ink561.xml"/><Relationship Id="rId49" Type="http://schemas.openxmlformats.org/officeDocument/2006/relationships/image" Target="../media/image221.png"/><Relationship Id="rId114" Type="http://schemas.openxmlformats.org/officeDocument/2006/relationships/customXml" Target="../ink/ink604.xml"/><Relationship Id="rId60" Type="http://schemas.openxmlformats.org/officeDocument/2006/relationships/customXml" Target="../ink/ink577.xml"/><Relationship Id="rId81" Type="http://schemas.openxmlformats.org/officeDocument/2006/relationships/image" Target="../media/image265.png"/><Relationship Id="rId135" Type="http://schemas.openxmlformats.org/officeDocument/2006/relationships/image" Target="../media/image305.png"/><Relationship Id="rId156" Type="http://schemas.openxmlformats.org/officeDocument/2006/relationships/customXml" Target="../ink/ink625.xml"/><Relationship Id="rId177" Type="http://schemas.openxmlformats.org/officeDocument/2006/relationships/image" Target="../media/image343.png"/><Relationship Id="rId198" Type="http://schemas.openxmlformats.org/officeDocument/2006/relationships/image" Target="../media/image353.png"/><Relationship Id="rId202" Type="http://schemas.openxmlformats.org/officeDocument/2006/relationships/image" Target="../media/image355.png"/><Relationship Id="rId18" Type="http://schemas.openxmlformats.org/officeDocument/2006/relationships/customXml" Target="../ink/ink556.xml"/><Relationship Id="rId39" Type="http://schemas.openxmlformats.org/officeDocument/2006/relationships/image" Target="../media/image217.png"/><Relationship Id="rId50" Type="http://schemas.openxmlformats.org/officeDocument/2006/relationships/customXml" Target="../ink/ink572.xml"/><Relationship Id="rId104" Type="http://schemas.openxmlformats.org/officeDocument/2006/relationships/customXml" Target="../ink/ink599.xml"/><Relationship Id="rId125" Type="http://schemas.openxmlformats.org/officeDocument/2006/relationships/image" Target="../media/image285.png"/><Relationship Id="rId146" Type="http://schemas.openxmlformats.org/officeDocument/2006/relationships/customXml" Target="../ink/ink620.xml"/><Relationship Id="rId167" Type="http://schemas.openxmlformats.org/officeDocument/2006/relationships/image" Target="../media/image338.png"/><Relationship Id="rId188" Type="http://schemas.openxmlformats.org/officeDocument/2006/relationships/customXml" Target="../ink/ink641.xml"/><Relationship Id="rId71" Type="http://schemas.openxmlformats.org/officeDocument/2006/relationships/image" Target="../media/image260.png"/><Relationship Id="rId92" Type="http://schemas.openxmlformats.org/officeDocument/2006/relationships/customXml" Target="../ink/ink593.xml"/><Relationship Id="rId2" Type="http://schemas.openxmlformats.org/officeDocument/2006/relationships/notesSlide" Target="../notesSlides/notesSlide75.xml"/><Relationship Id="rId29" Type="http://schemas.openxmlformats.org/officeDocument/2006/relationships/image" Target="../media/image21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5598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7847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93910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095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spTree>
    <p:extLst>
      <p:ext uri="{BB962C8B-B14F-4D97-AF65-F5344CB8AC3E}">
        <p14:creationId xmlns:p14="http://schemas.microsoft.com/office/powerpoint/2010/main" val="16817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a:t>
            </a:r>
            <a:r>
              <a:rPr lang="en-US" sz="1400">
                <a:latin typeface="Segoe UI" panose="020B0502040204020203" pitchFamily="34" charset="0"/>
                <a:cs typeface="Segoe UI" panose="020B0502040204020203" pitchFamily="34" charset="0"/>
              </a:rPr>
              <a:t>changes if </a:t>
            </a:r>
            <a:r>
              <a:rPr lang="en-US" sz="1400" dirty="0">
                <a:latin typeface="Segoe UI" panose="020B0502040204020203" pitchFamily="34" charset="0"/>
                <a:cs typeface="Segoe UI" panose="020B0502040204020203" pitchFamily="34" charset="0"/>
              </a:rPr>
              <a:t>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292880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631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Tree>
    <p:extLst>
      <p:ext uri="{BB962C8B-B14F-4D97-AF65-F5344CB8AC3E}">
        <p14:creationId xmlns:p14="http://schemas.microsoft.com/office/powerpoint/2010/main" val="344758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p:txBody>
      </p:sp>
    </p:spTree>
    <p:extLst>
      <p:ext uri="{BB962C8B-B14F-4D97-AF65-F5344CB8AC3E}">
        <p14:creationId xmlns:p14="http://schemas.microsoft.com/office/powerpoint/2010/main" val="3497242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1048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8181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461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248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120300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solidFill>
                  <a:schemeClr val="bg1"/>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solidFill>
                  <a:schemeClr val="bg1"/>
                </a:solidFill>
                <a:latin typeface="Segoe UI" panose="020B0502040204020203" pitchFamily="34" charset="0"/>
                <a:cs typeface="Segoe UI" panose="020B0502040204020203" pitchFamily="34" charset="0"/>
              </a:rPr>
              <a:t>A label has a certain persistent ID which is named </a:t>
            </a:r>
            <a:r>
              <a:rPr lang="en-US" sz="1400" b="1" dirty="0">
                <a:solidFill>
                  <a:schemeClr val="bg1"/>
                </a:solidFill>
                <a:latin typeface="Segoe UI" panose="020B0502040204020203" pitchFamily="34" charset="0"/>
                <a:cs typeface="Segoe UI" panose="020B0502040204020203" pitchFamily="34" charset="0"/>
              </a:rPr>
              <a:t>Entry.</a:t>
            </a:r>
            <a:r>
              <a:rPr lang="en-US" sz="1400" dirty="0">
                <a:solidFill>
                  <a:schemeClr val="bg1"/>
                </a:solidFill>
                <a:latin typeface="Segoe UI" panose="020B0502040204020203" pitchFamily="34" charset="0"/>
                <a:cs typeface="Segoe UI" panose="020B0502040204020203" pitchFamily="34" charset="0"/>
              </a:rPr>
              <a:t> Here is an example of entry: “1:2:1”.</a:t>
            </a:r>
            <a:endParaRPr lang="en-US" sz="1400" b="1" dirty="0">
              <a:solidFill>
                <a:schemeClr val="bg1"/>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49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p:txBody>
      </p:sp>
    </p:spTree>
    <p:extLst>
      <p:ext uri="{BB962C8B-B14F-4D97-AF65-F5344CB8AC3E}">
        <p14:creationId xmlns:p14="http://schemas.microsoft.com/office/powerpoint/2010/main" val="706297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454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234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a:p>
            <a:pPr>
              <a:lnSpc>
                <a:spcPct val="120000"/>
              </a:lnSpc>
              <a:buFontTx/>
              <a:buChar char="-"/>
            </a:pPr>
            <a:r>
              <a:rPr lang="en-US" sz="2000" dirty="0">
                <a:latin typeface="Segoe UI" panose="020B0502040204020203" pitchFamily="34" charset="0"/>
                <a:cs typeface="Segoe UI" panose="020B0502040204020203" pitchFamily="34" charset="0"/>
              </a:rPr>
              <a:t>Custom attributes</a:t>
            </a:r>
          </a:p>
        </p:txBody>
      </p:sp>
    </p:spTree>
    <p:extLst>
      <p:ext uri="{BB962C8B-B14F-4D97-AF65-F5344CB8AC3E}">
        <p14:creationId xmlns:p14="http://schemas.microsoft.com/office/powerpoint/2010/main" val="978302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09454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45C47F9-99DE-4AE2-887E-125C7D79EBCC}"/>
                  </a:ext>
                </a:extLst>
              </p14:cNvPr>
              <p14:cNvContentPartPr/>
              <p14:nvPr/>
            </p14:nvContentPartPr>
            <p14:xfrm>
              <a:off x="3585273" y="1586202"/>
              <a:ext cx="360" cy="360"/>
            </p14:xfrm>
          </p:contentPart>
        </mc:Choice>
        <mc:Fallback>
          <p:pic>
            <p:nvPicPr>
              <p:cNvPr id="2" name="Рукописный ввод 1">
                <a:extLst>
                  <a:ext uri="{FF2B5EF4-FFF2-40B4-BE49-F238E27FC236}">
                    <a16:creationId xmlns:a16="http://schemas.microsoft.com/office/drawing/2014/main" id="{045C47F9-99DE-4AE2-887E-125C7D79EBCC}"/>
                  </a:ext>
                </a:extLst>
              </p:cNvPr>
              <p:cNvPicPr/>
              <p:nvPr/>
            </p:nvPicPr>
            <p:blipFill>
              <a:blip r:embed="rId5"/>
              <a:stretch>
                <a:fillRect/>
              </a:stretch>
            </p:blipFill>
            <p:spPr>
              <a:xfrm>
                <a:off x="3576273" y="157720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1BE5E754-AEAC-46D9-882A-5749F2A4AC67}"/>
                  </a:ext>
                </a:extLst>
              </p14:cNvPr>
              <p14:cNvContentPartPr/>
              <p14:nvPr/>
            </p14:nvContentPartPr>
            <p14:xfrm>
              <a:off x="3704073" y="1721562"/>
              <a:ext cx="315000" cy="175320"/>
            </p14:xfrm>
          </p:contentPart>
        </mc:Choice>
        <mc:Fallback>
          <p:pic>
            <p:nvPicPr>
              <p:cNvPr id="3" name="Рукописный ввод 2">
                <a:extLst>
                  <a:ext uri="{FF2B5EF4-FFF2-40B4-BE49-F238E27FC236}">
                    <a16:creationId xmlns:a16="http://schemas.microsoft.com/office/drawing/2014/main" id="{1BE5E754-AEAC-46D9-882A-5749F2A4AC67}"/>
                  </a:ext>
                </a:extLst>
              </p:cNvPr>
              <p:cNvPicPr/>
              <p:nvPr/>
            </p:nvPicPr>
            <p:blipFill>
              <a:blip r:embed="rId7"/>
              <a:stretch>
                <a:fillRect/>
              </a:stretch>
            </p:blipFill>
            <p:spPr>
              <a:xfrm>
                <a:off x="3695433" y="1712562"/>
                <a:ext cx="332640" cy="1929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27145417-0E3B-437F-A601-6D5E32C713C7}"/>
                  </a:ext>
                </a:extLst>
              </p14:cNvPr>
              <p14:cNvContentPartPr/>
              <p14:nvPr/>
            </p14:nvContentPartPr>
            <p14:xfrm>
              <a:off x="8531313" y="3197922"/>
              <a:ext cx="360" cy="360"/>
            </p14:xfrm>
          </p:contentPart>
        </mc:Choice>
        <mc:Fallback>
          <p:pic>
            <p:nvPicPr>
              <p:cNvPr id="5" name="Рукописный ввод 4">
                <a:extLst>
                  <a:ext uri="{FF2B5EF4-FFF2-40B4-BE49-F238E27FC236}">
                    <a16:creationId xmlns:a16="http://schemas.microsoft.com/office/drawing/2014/main" id="{27145417-0E3B-437F-A601-6D5E32C713C7}"/>
                  </a:ext>
                </a:extLst>
              </p:cNvPr>
              <p:cNvPicPr/>
              <p:nvPr/>
            </p:nvPicPr>
            <p:blipFill>
              <a:blip r:embed="rId9"/>
              <a:stretch>
                <a:fillRect/>
              </a:stretch>
            </p:blipFill>
            <p:spPr>
              <a:xfrm>
                <a:off x="8468313" y="3134922"/>
                <a:ext cx="126000" cy="12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486E31FA-2E64-4ADA-82BB-C760F30B6201}"/>
                  </a:ext>
                </a:extLst>
              </p14:cNvPr>
              <p14:cNvContentPartPr/>
              <p14:nvPr/>
            </p14:nvContentPartPr>
            <p14:xfrm>
              <a:off x="3032673" y="1375602"/>
              <a:ext cx="3659400" cy="4533840"/>
            </p14:xfrm>
          </p:contentPart>
        </mc:Choice>
        <mc:Fallback>
          <p:pic>
            <p:nvPicPr>
              <p:cNvPr id="7" name="Рукописный ввод 6">
                <a:extLst>
                  <a:ext uri="{FF2B5EF4-FFF2-40B4-BE49-F238E27FC236}">
                    <a16:creationId xmlns:a16="http://schemas.microsoft.com/office/drawing/2014/main" id="{486E31FA-2E64-4ADA-82BB-C760F30B6201}"/>
                  </a:ext>
                </a:extLst>
              </p:cNvPr>
              <p:cNvPicPr/>
              <p:nvPr/>
            </p:nvPicPr>
            <p:blipFill>
              <a:blip r:embed="rId11"/>
              <a:stretch>
                <a:fillRect/>
              </a:stretch>
            </p:blipFill>
            <p:spPr>
              <a:xfrm>
                <a:off x="2970033" y="1312602"/>
                <a:ext cx="3785040" cy="4659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D84A5E63-7EF4-45F5-B9D5-ECEA59474745}"/>
                  </a:ext>
                </a:extLst>
              </p14:cNvPr>
              <p14:cNvContentPartPr/>
              <p14:nvPr/>
            </p14:nvContentPartPr>
            <p14:xfrm>
              <a:off x="3540633" y="1258602"/>
              <a:ext cx="3811320" cy="1846080"/>
            </p14:xfrm>
          </p:contentPart>
        </mc:Choice>
        <mc:Fallback>
          <p:pic>
            <p:nvPicPr>
              <p:cNvPr id="8" name="Рукописный ввод 7">
                <a:extLst>
                  <a:ext uri="{FF2B5EF4-FFF2-40B4-BE49-F238E27FC236}">
                    <a16:creationId xmlns:a16="http://schemas.microsoft.com/office/drawing/2014/main" id="{D84A5E63-7EF4-45F5-B9D5-ECEA59474745}"/>
                  </a:ext>
                </a:extLst>
              </p:cNvPr>
              <p:cNvPicPr/>
              <p:nvPr/>
            </p:nvPicPr>
            <p:blipFill>
              <a:blip r:embed="rId13"/>
              <a:stretch>
                <a:fillRect/>
              </a:stretch>
            </p:blipFill>
            <p:spPr>
              <a:xfrm>
                <a:off x="3477633" y="1195602"/>
                <a:ext cx="3936960" cy="1971720"/>
              </a:xfrm>
              <a:prstGeom prst="rect">
                <a:avLst/>
              </a:prstGeom>
            </p:spPr>
          </p:pic>
        </mc:Fallback>
      </mc:AlternateContent>
    </p:spTree>
    <p:extLst>
      <p:ext uri="{BB962C8B-B14F-4D97-AF65-F5344CB8AC3E}">
        <p14:creationId xmlns:p14="http://schemas.microsoft.com/office/powerpoint/2010/main" val="819689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4FC08D-B947-4698-8F4A-339C8AD095A0}"/>
                  </a:ext>
                </a:extLst>
              </p14:cNvPr>
              <p14:cNvContentPartPr/>
              <p14:nvPr/>
            </p14:nvContentPartPr>
            <p14:xfrm>
              <a:off x="3141393" y="3319962"/>
              <a:ext cx="3820320" cy="2612520"/>
            </p14:xfrm>
          </p:contentPart>
        </mc:Choice>
        <mc:Fallback>
          <p:pic>
            <p:nvPicPr>
              <p:cNvPr id="2" name="Рукописный ввод 1">
                <a:extLst>
                  <a:ext uri="{FF2B5EF4-FFF2-40B4-BE49-F238E27FC236}">
                    <a16:creationId xmlns:a16="http://schemas.microsoft.com/office/drawing/2014/main" id="{984FC08D-B947-4698-8F4A-339C8AD095A0}"/>
                  </a:ext>
                </a:extLst>
              </p:cNvPr>
              <p:cNvPicPr/>
              <p:nvPr/>
            </p:nvPicPr>
            <p:blipFill>
              <a:blip r:embed="rId5"/>
              <a:stretch>
                <a:fillRect/>
              </a:stretch>
            </p:blipFill>
            <p:spPr>
              <a:xfrm>
                <a:off x="3078393" y="3257322"/>
                <a:ext cx="3945960" cy="273816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91D566BF-8628-428C-B866-D4ACF8D6DC22}"/>
                  </a:ext>
                </a:extLst>
              </p14:cNvPr>
              <p14:cNvContentPartPr/>
              <p14:nvPr/>
            </p14:nvContentPartPr>
            <p14:xfrm>
              <a:off x="3742593" y="1303602"/>
              <a:ext cx="3673080" cy="1706040"/>
            </p14:xfrm>
          </p:contentPart>
        </mc:Choice>
        <mc:Fallback>
          <p:pic>
            <p:nvPicPr>
              <p:cNvPr id="3" name="Рукописный ввод 2">
                <a:extLst>
                  <a:ext uri="{FF2B5EF4-FFF2-40B4-BE49-F238E27FC236}">
                    <a16:creationId xmlns:a16="http://schemas.microsoft.com/office/drawing/2014/main" id="{91D566BF-8628-428C-B866-D4ACF8D6DC22}"/>
                  </a:ext>
                </a:extLst>
              </p:cNvPr>
              <p:cNvPicPr/>
              <p:nvPr/>
            </p:nvPicPr>
            <p:blipFill>
              <a:blip r:embed="rId7"/>
              <a:stretch>
                <a:fillRect/>
              </a:stretch>
            </p:blipFill>
            <p:spPr>
              <a:xfrm>
                <a:off x="3679953" y="1240962"/>
                <a:ext cx="3798720" cy="1831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99AC5079-BC9B-4FB7-B056-E1E0F4A26D1A}"/>
                  </a:ext>
                </a:extLst>
              </p14:cNvPr>
              <p14:cNvContentPartPr/>
              <p14:nvPr/>
            </p14:nvContentPartPr>
            <p14:xfrm>
              <a:off x="3119433" y="1817322"/>
              <a:ext cx="1399680" cy="2088360"/>
            </p14:xfrm>
          </p:contentPart>
        </mc:Choice>
        <mc:Fallback>
          <p:pic>
            <p:nvPicPr>
              <p:cNvPr id="4" name="Рукописный ввод 3">
                <a:extLst>
                  <a:ext uri="{FF2B5EF4-FFF2-40B4-BE49-F238E27FC236}">
                    <a16:creationId xmlns:a16="http://schemas.microsoft.com/office/drawing/2014/main" id="{99AC5079-BC9B-4FB7-B056-E1E0F4A26D1A}"/>
                  </a:ext>
                </a:extLst>
              </p:cNvPr>
              <p:cNvPicPr/>
              <p:nvPr/>
            </p:nvPicPr>
            <p:blipFill>
              <a:blip r:embed="rId9"/>
              <a:stretch>
                <a:fillRect/>
              </a:stretch>
            </p:blipFill>
            <p:spPr>
              <a:xfrm>
                <a:off x="3056793" y="1754322"/>
                <a:ext cx="1525320" cy="2214000"/>
              </a:xfrm>
              <a:prstGeom prst="rect">
                <a:avLst/>
              </a:prstGeom>
            </p:spPr>
          </p:pic>
        </mc:Fallback>
      </mc:AlternateContent>
    </p:spTree>
    <p:extLst>
      <p:ext uri="{BB962C8B-B14F-4D97-AF65-F5344CB8AC3E}">
        <p14:creationId xmlns:p14="http://schemas.microsoft.com/office/powerpoint/2010/main" val="16972826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BA6FCBF4-0A1E-4732-90E6-D956A42A59E7}"/>
                  </a:ext>
                </a:extLst>
              </p14:cNvPr>
              <p14:cNvContentPartPr/>
              <p14:nvPr/>
            </p14:nvContentPartPr>
            <p14:xfrm>
              <a:off x="3646833" y="1367682"/>
              <a:ext cx="3882600" cy="1652760"/>
            </p14:xfrm>
          </p:contentPart>
        </mc:Choice>
        <mc:Fallback>
          <p:pic>
            <p:nvPicPr>
              <p:cNvPr id="2" name="Рукописный ввод 1">
                <a:extLst>
                  <a:ext uri="{FF2B5EF4-FFF2-40B4-BE49-F238E27FC236}">
                    <a16:creationId xmlns:a16="http://schemas.microsoft.com/office/drawing/2014/main" id="{BA6FCBF4-0A1E-4732-90E6-D956A42A59E7}"/>
                  </a:ext>
                </a:extLst>
              </p:cNvPr>
              <p:cNvPicPr/>
              <p:nvPr/>
            </p:nvPicPr>
            <p:blipFill>
              <a:blip r:embed="rId5"/>
              <a:stretch>
                <a:fillRect/>
              </a:stretch>
            </p:blipFill>
            <p:spPr>
              <a:xfrm>
                <a:off x="3583833" y="1305042"/>
                <a:ext cx="4008240" cy="1778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84CFE0E3-3EB2-463E-A75D-1F3A66B7EFE4}"/>
                  </a:ext>
                </a:extLst>
              </p14:cNvPr>
              <p14:cNvContentPartPr/>
              <p14:nvPr/>
            </p14:nvContentPartPr>
            <p14:xfrm>
              <a:off x="3795513" y="3294762"/>
              <a:ext cx="2949480" cy="2475360"/>
            </p14:xfrm>
          </p:contentPart>
        </mc:Choice>
        <mc:Fallback>
          <p:pic>
            <p:nvPicPr>
              <p:cNvPr id="3" name="Рукописный ввод 2">
                <a:extLst>
                  <a:ext uri="{FF2B5EF4-FFF2-40B4-BE49-F238E27FC236}">
                    <a16:creationId xmlns:a16="http://schemas.microsoft.com/office/drawing/2014/main" id="{84CFE0E3-3EB2-463E-A75D-1F3A66B7EFE4}"/>
                  </a:ext>
                </a:extLst>
              </p:cNvPr>
              <p:cNvPicPr/>
              <p:nvPr/>
            </p:nvPicPr>
            <p:blipFill>
              <a:blip r:embed="rId7"/>
              <a:stretch>
                <a:fillRect/>
              </a:stretch>
            </p:blipFill>
            <p:spPr>
              <a:xfrm>
                <a:off x="3732513" y="3232122"/>
                <a:ext cx="3075120" cy="2601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0FEFA858-D0F1-4442-9E8B-A0AC0D22BED2}"/>
                  </a:ext>
                </a:extLst>
              </p14:cNvPr>
              <p14:cNvContentPartPr/>
              <p14:nvPr/>
            </p14:nvContentPartPr>
            <p14:xfrm>
              <a:off x="3125193" y="4512282"/>
              <a:ext cx="769320" cy="1490400"/>
            </p14:xfrm>
          </p:contentPart>
        </mc:Choice>
        <mc:Fallback>
          <p:pic>
            <p:nvPicPr>
              <p:cNvPr id="4" name="Рукописный ввод 3">
                <a:extLst>
                  <a:ext uri="{FF2B5EF4-FFF2-40B4-BE49-F238E27FC236}">
                    <a16:creationId xmlns:a16="http://schemas.microsoft.com/office/drawing/2014/main" id="{0FEFA858-D0F1-4442-9E8B-A0AC0D22BED2}"/>
                  </a:ext>
                </a:extLst>
              </p:cNvPr>
              <p:cNvPicPr/>
              <p:nvPr/>
            </p:nvPicPr>
            <p:blipFill>
              <a:blip r:embed="rId9"/>
              <a:stretch>
                <a:fillRect/>
              </a:stretch>
            </p:blipFill>
            <p:spPr>
              <a:xfrm>
                <a:off x="3062553" y="4449282"/>
                <a:ext cx="894960" cy="1616040"/>
              </a:xfrm>
              <a:prstGeom prst="rect">
                <a:avLst/>
              </a:prstGeom>
            </p:spPr>
          </p:pic>
        </mc:Fallback>
      </mc:AlternateContent>
    </p:spTree>
    <p:extLst>
      <p:ext uri="{BB962C8B-B14F-4D97-AF65-F5344CB8AC3E}">
        <p14:creationId xmlns:p14="http://schemas.microsoft.com/office/powerpoint/2010/main" val="26377349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673" y="331312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3153" y="131656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3014100C-FCBB-4F7D-BD00-47B3FBFBE337}"/>
                  </a:ext>
                </a:extLst>
              </p14:cNvPr>
              <p14:cNvContentPartPr/>
              <p14:nvPr/>
            </p14:nvContentPartPr>
            <p14:xfrm>
              <a:off x="3666633" y="2252922"/>
              <a:ext cx="1595520" cy="717480"/>
            </p14:xfrm>
          </p:contentPart>
        </mc:Choice>
        <mc:Fallback>
          <p:pic>
            <p:nvPicPr>
              <p:cNvPr id="4" name="Рукописный ввод 3">
                <a:extLst>
                  <a:ext uri="{FF2B5EF4-FFF2-40B4-BE49-F238E27FC236}">
                    <a16:creationId xmlns:a16="http://schemas.microsoft.com/office/drawing/2014/main" id="{3014100C-FCBB-4F7D-BD00-47B3FBFBE337}"/>
                  </a:ext>
                </a:extLst>
              </p:cNvPr>
              <p:cNvPicPr/>
              <p:nvPr/>
            </p:nvPicPr>
            <p:blipFill>
              <a:blip r:embed="rId9"/>
              <a:stretch>
                <a:fillRect/>
              </a:stretch>
            </p:blipFill>
            <p:spPr>
              <a:xfrm>
                <a:off x="3603993" y="2190282"/>
                <a:ext cx="1721160" cy="843120"/>
              </a:xfrm>
              <a:prstGeom prst="rect">
                <a:avLst/>
              </a:prstGeom>
            </p:spPr>
          </p:pic>
        </mc:Fallback>
      </mc:AlternateContent>
    </p:spTree>
    <p:extLst>
      <p:ext uri="{BB962C8B-B14F-4D97-AF65-F5344CB8AC3E}">
        <p14:creationId xmlns:p14="http://schemas.microsoft.com/office/powerpoint/2010/main" val="1050812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476F0C04-DF9E-470D-9ED9-30E3052ACA58}"/>
                  </a:ext>
                </a:extLst>
              </p14:cNvPr>
              <p14:cNvContentPartPr/>
              <p14:nvPr/>
            </p14:nvContentPartPr>
            <p14:xfrm>
              <a:off x="3796233" y="2753682"/>
              <a:ext cx="780840" cy="232560"/>
            </p14:xfrm>
          </p:contentPart>
        </mc:Choice>
        <mc:Fallback>
          <p:pic>
            <p:nvPicPr>
              <p:cNvPr id="4" name="Рукописный ввод 3">
                <a:extLst>
                  <a:ext uri="{FF2B5EF4-FFF2-40B4-BE49-F238E27FC236}">
                    <a16:creationId xmlns:a16="http://schemas.microsoft.com/office/drawing/2014/main" id="{476F0C04-DF9E-470D-9ED9-30E3052ACA58}"/>
                  </a:ext>
                </a:extLst>
              </p:cNvPr>
              <p:cNvPicPr/>
              <p:nvPr/>
            </p:nvPicPr>
            <p:blipFill>
              <a:blip r:embed="rId9"/>
              <a:stretch>
                <a:fillRect/>
              </a:stretch>
            </p:blipFill>
            <p:spPr>
              <a:xfrm>
                <a:off x="3733233" y="2690682"/>
                <a:ext cx="906480" cy="358200"/>
              </a:xfrm>
              <a:prstGeom prst="rect">
                <a:avLst/>
              </a:prstGeom>
            </p:spPr>
          </p:pic>
        </mc:Fallback>
      </mc:AlternateContent>
    </p:spTree>
    <p:extLst>
      <p:ext uri="{BB962C8B-B14F-4D97-AF65-F5344CB8AC3E}">
        <p14:creationId xmlns:p14="http://schemas.microsoft.com/office/powerpoint/2010/main" val="39556787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p:spTree>
    <p:extLst>
      <p:ext uri="{BB962C8B-B14F-4D97-AF65-F5344CB8AC3E}">
        <p14:creationId xmlns:p14="http://schemas.microsoft.com/office/powerpoint/2010/main" val="13414983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7082"/>
                <a:ext cx="417240" cy="242280"/>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473" y="335020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56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6952F045-25A1-40D5-A05F-A60709D56839}"/>
                  </a:ext>
                </a:extLst>
              </p14:cNvPr>
              <p14:cNvContentPartPr/>
              <p14:nvPr/>
            </p14:nvContentPartPr>
            <p14:xfrm>
              <a:off x="5321913" y="1395402"/>
              <a:ext cx="2014920" cy="404640"/>
            </p14:xfrm>
          </p:contentPart>
        </mc:Choice>
        <mc:Fallback>
          <p:pic>
            <p:nvPicPr>
              <p:cNvPr id="8" name="Рукописный ввод 7">
                <a:extLst>
                  <a:ext uri="{FF2B5EF4-FFF2-40B4-BE49-F238E27FC236}">
                    <a16:creationId xmlns:a16="http://schemas.microsoft.com/office/drawing/2014/main" id="{6952F045-25A1-40D5-A05F-A60709D56839}"/>
                  </a:ext>
                </a:extLst>
              </p:cNvPr>
              <p:cNvPicPr/>
              <p:nvPr/>
            </p:nvPicPr>
            <p:blipFill>
              <a:blip r:embed="rId13"/>
              <a:stretch>
                <a:fillRect/>
              </a:stretch>
            </p:blipFill>
            <p:spPr>
              <a:xfrm>
                <a:off x="5259273" y="1332402"/>
                <a:ext cx="2140560" cy="530280"/>
              </a:xfrm>
              <a:prstGeom prst="rect">
                <a:avLst/>
              </a:prstGeom>
            </p:spPr>
          </p:pic>
        </mc:Fallback>
      </mc:AlternateContent>
    </p:spTree>
    <p:extLst>
      <p:ext uri="{BB962C8B-B14F-4D97-AF65-F5344CB8AC3E}">
        <p14:creationId xmlns:p14="http://schemas.microsoft.com/office/powerpoint/2010/main" val="4195948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7DC8D951-1D62-40C4-897D-2B7F034F2AB8}"/>
                  </a:ext>
                </a:extLst>
              </p14:cNvPr>
              <p14:cNvContentPartPr/>
              <p14:nvPr/>
            </p14:nvContentPartPr>
            <p14:xfrm>
              <a:off x="6242793" y="1370202"/>
              <a:ext cx="1138680" cy="313560"/>
            </p14:xfrm>
          </p:contentPart>
        </mc:Choice>
        <mc:Fallback>
          <p:pic>
            <p:nvPicPr>
              <p:cNvPr id="8" name="Рукописный ввод 7">
                <a:extLst>
                  <a:ext uri="{FF2B5EF4-FFF2-40B4-BE49-F238E27FC236}">
                    <a16:creationId xmlns:a16="http://schemas.microsoft.com/office/drawing/2014/main" id="{7DC8D951-1D62-40C4-897D-2B7F034F2AB8}"/>
                  </a:ext>
                </a:extLst>
              </p:cNvPr>
              <p:cNvPicPr/>
              <p:nvPr/>
            </p:nvPicPr>
            <p:blipFill>
              <a:blip r:embed="rId13"/>
              <a:stretch>
                <a:fillRect/>
              </a:stretch>
            </p:blipFill>
            <p:spPr>
              <a:xfrm>
                <a:off x="6179793" y="1307562"/>
                <a:ext cx="1264320" cy="439200"/>
              </a:xfrm>
              <a:prstGeom prst="rect">
                <a:avLst/>
              </a:prstGeom>
            </p:spPr>
          </p:pic>
        </mc:Fallback>
      </mc:AlternateContent>
    </p:spTree>
    <p:extLst>
      <p:ext uri="{BB962C8B-B14F-4D97-AF65-F5344CB8AC3E}">
        <p14:creationId xmlns:p14="http://schemas.microsoft.com/office/powerpoint/2010/main" val="18676006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mc:Choice xmlns:p14="http://schemas.microsoft.com/office/powerpoint/2010/main"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p:spTree>
    <p:extLst>
      <p:ext uri="{BB962C8B-B14F-4D97-AF65-F5344CB8AC3E}">
        <p14:creationId xmlns:p14="http://schemas.microsoft.com/office/powerpoint/2010/main" val="42000857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47E78D81-CF6A-4D83-AB3F-169D3BE3F6B4}"/>
                  </a:ext>
                </a:extLst>
              </p14:cNvPr>
              <p14:cNvContentPartPr/>
              <p14:nvPr/>
            </p14:nvContentPartPr>
            <p14:xfrm>
              <a:off x="4541793" y="3367122"/>
              <a:ext cx="2152800" cy="1625760"/>
            </p14:xfrm>
          </p:contentPart>
        </mc:Choice>
        <mc:Fallback>
          <p:pic>
            <p:nvPicPr>
              <p:cNvPr id="2" name="Рукописный ввод 1">
                <a:extLst>
                  <a:ext uri="{FF2B5EF4-FFF2-40B4-BE49-F238E27FC236}">
                    <a16:creationId xmlns:a16="http://schemas.microsoft.com/office/drawing/2014/main" id="{47E78D81-CF6A-4D83-AB3F-169D3BE3F6B4}"/>
                  </a:ext>
                </a:extLst>
              </p:cNvPr>
              <p:cNvPicPr/>
              <p:nvPr/>
            </p:nvPicPr>
            <p:blipFill>
              <a:blip r:embed="rId5"/>
              <a:stretch>
                <a:fillRect/>
              </a:stretch>
            </p:blipFill>
            <p:spPr>
              <a:xfrm>
                <a:off x="4479153" y="3304482"/>
                <a:ext cx="2278440" cy="1751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A7E28BC7-526F-4D0F-B322-4EBCE1B8BA07}"/>
                  </a:ext>
                </a:extLst>
              </p14:cNvPr>
              <p14:cNvContentPartPr/>
              <p14:nvPr/>
            </p14:nvContentPartPr>
            <p14:xfrm>
              <a:off x="3165513" y="4492482"/>
              <a:ext cx="2612160" cy="1430640"/>
            </p14:xfrm>
          </p:contentPart>
        </mc:Choice>
        <mc:Fallback>
          <p:pic>
            <p:nvPicPr>
              <p:cNvPr id="3" name="Рукописный ввод 2">
                <a:extLst>
                  <a:ext uri="{FF2B5EF4-FFF2-40B4-BE49-F238E27FC236}">
                    <a16:creationId xmlns:a16="http://schemas.microsoft.com/office/drawing/2014/main" id="{A7E28BC7-526F-4D0F-B322-4EBCE1B8BA07}"/>
                  </a:ext>
                </a:extLst>
              </p:cNvPr>
              <p:cNvPicPr/>
              <p:nvPr/>
            </p:nvPicPr>
            <p:blipFill>
              <a:blip r:embed="rId7"/>
              <a:stretch>
                <a:fillRect/>
              </a:stretch>
            </p:blipFill>
            <p:spPr>
              <a:xfrm>
                <a:off x="3102513" y="4429482"/>
                <a:ext cx="2737800" cy="1556280"/>
              </a:xfrm>
              <a:prstGeom prst="rect">
                <a:avLst/>
              </a:prstGeom>
            </p:spPr>
          </p:pic>
        </mc:Fallback>
      </mc:AlternateContent>
    </p:spTree>
    <p:extLst>
      <p:ext uri="{BB962C8B-B14F-4D97-AF65-F5344CB8AC3E}">
        <p14:creationId xmlns:p14="http://schemas.microsoft.com/office/powerpoint/2010/main" val="13632770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62"/>
                <a:ext cx="2276640" cy="17546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5E285B45-4CFD-44BA-9655-9B51BA0BE524}"/>
                  </a:ext>
                </a:extLst>
              </p14:cNvPr>
              <p14:cNvContentPartPr/>
              <p14:nvPr/>
            </p14:nvContentPartPr>
            <p14:xfrm>
              <a:off x="3122313" y="4975962"/>
              <a:ext cx="1450800" cy="941040"/>
            </p14:xfrm>
          </p:contentPart>
        </mc:Choice>
        <mc:Fallback>
          <p:pic>
            <p:nvPicPr>
              <p:cNvPr id="3" name="Рукописный ввод 2">
                <a:extLst>
                  <a:ext uri="{FF2B5EF4-FFF2-40B4-BE49-F238E27FC236}">
                    <a16:creationId xmlns:a16="http://schemas.microsoft.com/office/drawing/2014/main" id="{5E285B45-4CFD-44BA-9655-9B51BA0BE524}"/>
                  </a:ext>
                </a:extLst>
              </p:cNvPr>
              <p:cNvPicPr/>
              <p:nvPr/>
            </p:nvPicPr>
            <p:blipFill>
              <a:blip r:embed="rId7"/>
              <a:stretch>
                <a:fillRect/>
              </a:stretch>
            </p:blipFill>
            <p:spPr>
              <a:xfrm>
                <a:off x="3059313" y="4913322"/>
                <a:ext cx="1576440" cy="1066680"/>
              </a:xfrm>
              <a:prstGeom prst="rect">
                <a:avLst/>
              </a:prstGeom>
            </p:spPr>
          </p:pic>
        </mc:Fallback>
      </mc:AlternateContent>
    </p:spTree>
    <p:extLst>
      <p:ext uri="{BB962C8B-B14F-4D97-AF65-F5344CB8AC3E}">
        <p14:creationId xmlns:p14="http://schemas.microsoft.com/office/powerpoint/2010/main" val="35390135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3684214C-C472-4E47-9CBF-DD8487FEBAFD}"/>
                  </a:ext>
                </a:extLst>
              </p14:cNvPr>
              <p14:cNvContentPartPr/>
              <p14:nvPr/>
            </p14:nvContentPartPr>
            <p14:xfrm>
              <a:off x="3223833" y="5592282"/>
              <a:ext cx="861480" cy="275040"/>
            </p14:xfrm>
          </p:contentPart>
        </mc:Choice>
        <mc:Fallback>
          <p:pic>
            <p:nvPicPr>
              <p:cNvPr id="3" name="Рукописный ввод 2">
                <a:extLst>
                  <a:ext uri="{FF2B5EF4-FFF2-40B4-BE49-F238E27FC236}">
                    <a16:creationId xmlns:a16="http://schemas.microsoft.com/office/drawing/2014/main" id="{3684214C-C472-4E47-9CBF-DD8487FEBAFD}"/>
                  </a:ext>
                </a:extLst>
              </p:cNvPr>
              <p:cNvPicPr/>
              <p:nvPr/>
            </p:nvPicPr>
            <p:blipFill>
              <a:blip r:embed="rId7"/>
              <a:stretch>
                <a:fillRect/>
              </a:stretch>
            </p:blipFill>
            <p:spPr>
              <a:xfrm>
                <a:off x="3161193" y="5529282"/>
                <a:ext cx="987120" cy="400680"/>
              </a:xfrm>
              <a:prstGeom prst="rect">
                <a:avLst/>
              </a:prstGeom>
            </p:spPr>
          </p:pic>
        </mc:Fallback>
      </mc:AlternateContent>
    </p:spTree>
    <p:extLst>
      <p:ext uri="{BB962C8B-B14F-4D97-AF65-F5344CB8AC3E}">
        <p14:creationId xmlns:p14="http://schemas.microsoft.com/office/powerpoint/2010/main" val="2491797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p:spTree>
    <p:extLst>
      <p:ext uri="{BB962C8B-B14F-4D97-AF65-F5344CB8AC3E}">
        <p14:creationId xmlns:p14="http://schemas.microsoft.com/office/powerpoint/2010/main" val="36305121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76028C6-A1CE-4612-AF3E-F1001D9F20CA}"/>
                  </a:ext>
                </a:extLst>
              </p14:cNvPr>
              <p14:cNvContentPartPr/>
              <p14:nvPr/>
            </p14:nvContentPartPr>
            <p14:xfrm>
              <a:off x="4576713" y="3338322"/>
              <a:ext cx="2180880" cy="1525680"/>
            </p14:xfrm>
          </p:contentPart>
        </mc:Choice>
        <mc:Fallback>
          <p:pic>
            <p:nvPicPr>
              <p:cNvPr id="2" name="Рукописный ввод 1">
                <a:extLst>
                  <a:ext uri="{FF2B5EF4-FFF2-40B4-BE49-F238E27FC236}">
                    <a16:creationId xmlns:a16="http://schemas.microsoft.com/office/drawing/2014/main" id="{176028C6-A1CE-4612-AF3E-F1001D9F20CA}"/>
                  </a:ext>
                </a:extLst>
              </p:cNvPr>
              <p:cNvPicPr/>
              <p:nvPr/>
            </p:nvPicPr>
            <p:blipFill>
              <a:blip r:embed="rId5"/>
              <a:stretch>
                <a:fillRect/>
              </a:stretch>
            </p:blipFill>
            <p:spPr>
              <a:xfrm>
                <a:off x="4514073" y="3275682"/>
                <a:ext cx="2306520" cy="1651320"/>
              </a:xfrm>
              <a:prstGeom prst="rect">
                <a:avLst/>
              </a:prstGeom>
            </p:spPr>
          </p:pic>
        </mc:Fallback>
      </mc:AlternateContent>
    </p:spTree>
    <p:extLst>
      <p:ext uri="{BB962C8B-B14F-4D97-AF65-F5344CB8AC3E}">
        <p14:creationId xmlns:p14="http://schemas.microsoft.com/office/powerpoint/2010/main" val="20835484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1FE3147E-D43B-4D45-8FFA-3F11F660F497}"/>
                  </a:ext>
                </a:extLst>
              </p14:cNvPr>
              <p14:cNvContentPartPr/>
              <p14:nvPr/>
            </p14:nvContentPartPr>
            <p14:xfrm>
              <a:off x="4565913" y="3364962"/>
              <a:ext cx="2163600" cy="1258920"/>
            </p14:xfrm>
          </p:contentPart>
        </mc:Choice>
        <mc:Fallback>
          <p:pic>
            <p:nvPicPr>
              <p:cNvPr id="2" name="Рукописный ввод 1">
                <a:extLst>
                  <a:ext uri="{FF2B5EF4-FFF2-40B4-BE49-F238E27FC236}">
                    <a16:creationId xmlns:a16="http://schemas.microsoft.com/office/drawing/2014/main" id="{1FE3147E-D43B-4D45-8FFA-3F11F660F497}"/>
                  </a:ext>
                </a:extLst>
              </p:cNvPr>
              <p:cNvPicPr/>
              <p:nvPr/>
            </p:nvPicPr>
            <p:blipFill>
              <a:blip r:embed="rId5"/>
              <a:stretch>
                <a:fillRect/>
              </a:stretch>
            </p:blipFill>
            <p:spPr>
              <a:xfrm>
                <a:off x="4502913" y="3301962"/>
                <a:ext cx="2289240" cy="1384560"/>
              </a:xfrm>
              <a:prstGeom prst="rect">
                <a:avLst/>
              </a:prstGeom>
            </p:spPr>
          </p:pic>
        </mc:Fallback>
      </mc:AlternateContent>
    </p:spTree>
    <p:extLst>
      <p:ext uri="{BB962C8B-B14F-4D97-AF65-F5344CB8AC3E}">
        <p14:creationId xmlns:p14="http://schemas.microsoft.com/office/powerpoint/2010/main" val="38572527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Tree>
    <p:extLst>
      <p:ext uri="{BB962C8B-B14F-4D97-AF65-F5344CB8AC3E}">
        <p14:creationId xmlns:p14="http://schemas.microsoft.com/office/powerpoint/2010/main" val="21547215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55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873" y="1348962"/>
                  <a:ext cx="63432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507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64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2153" y="128488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9033" y="1274802"/>
                  <a:ext cx="33840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5993" y="1289922"/>
                  <a:ext cx="98280" cy="3484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673" y="1735602"/>
                <a:ext cx="39960"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553" y="2129082"/>
                <a:ext cx="48600" cy="27216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713" y="251752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56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593" y="205168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64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215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1353" y="3123042"/>
                  <a:ext cx="316440"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673" y="3140322"/>
                  <a:ext cx="336960" cy="187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713" y="313096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48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99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523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993" y="318388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33" y="956562"/>
                  <a:ext cx="202320"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207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62"/>
                  <a:ext cx="39960" cy="23472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43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2023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753" y="1066722"/>
                  <a:ext cx="116640" cy="25920"/>
                </a:xfrm>
                <a:prstGeom prst="rect">
                  <a:avLst/>
                </a:prstGeom>
              </p:spPr>
            </p:pic>
          </mc:Fallback>
        </mc:AlternateContent>
      </p:grpSp>
    </p:spTree>
    <p:extLst>
      <p:ext uri="{BB962C8B-B14F-4D97-AF65-F5344CB8AC3E}">
        <p14:creationId xmlns:p14="http://schemas.microsoft.com/office/powerpoint/2010/main" val="11845889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54" name="Группа 53">
            <a:extLst>
              <a:ext uri="{FF2B5EF4-FFF2-40B4-BE49-F238E27FC236}">
                <a16:creationId xmlns:a16="http://schemas.microsoft.com/office/drawing/2014/main" id="{9FBA6F62-632E-45AC-918A-7D0252CB2BF4}"/>
              </a:ext>
            </a:extLst>
          </p:cNvPr>
          <p:cNvGrpSpPr/>
          <p:nvPr/>
        </p:nvGrpSpPr>
        <p:grpSpPr>
          <a:xfrm>
            <a:off x="3888753" y="1795362"/>
            <a:ext cx="3726360" cy="528480"/>
            <a:chOff x="3888753" y="1795362"/>
            <a:chExt cx="3726360" cy="528480"/>
          </a:xfrm>
        </p:grpSpPr>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982620F2-163D-48DB-95D0-FD4F6575368C}"/>
                    </a:ext>
                  </a:extLst>
                </p14:cNvPr>
                <p14:cNvContentPartPr/>
                <p14:nvPr/>
              </p14:nvContentPartPr>
              <p14:xfrm>
                <a:off x="3888753" y="1906962"/>
                <a:ext cx="30960" cy="303480"/>
              </p14:xfrm>
            </p:contentPart>
          </mc:Choice>
          <mc:Fallback>
            <p:pic>
              <p:nvPicPr>
                <p:cNvPr id="2" name="Рукописный ввод 1">
                  <a:extLst>
                    <a:ext uri="{FF2B5EF4-FFF2-40B4-BE49-F238E27FC236}">
                      <a16:creationId xmlns:a16="http://schemas.microsoft.com/office/drawing/2014/main" id="{982620F2-163D-48DB-95D0-FD4F6575368C}"/>
                    </a:ext>
                  </a:extLst>
                </p:cNvPr>
                <p:cNvPicPr/>
                <p:nvPr/>
              </p:nvPicPr>
              <p:blipFill>
                <a:blip r:embed="rId5"/>
                <a:stretch>
                  <a:fillRect/>
                </a:stretch>
              </p:blipFill>
              <p:spPr>
                <a:xfrm>
                  <a:off x="3880113" y="1897962"/>
                  <a:ext cx="48600" cy="32112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68B7D4B4-6538-4C44-AC06-A39F12DFCCB6}"/>
                    </a:ext>
                  </a:extLst>
                </p14:cNvPr>
                <p14:cNvContentPartPr/>
                <p14:nvPr/>
              </p14:nvContentPartPr>
              <p14:xfrm>
                <a:off x="3939873" y="1870242"/>
                <a:ext cx="399600" cy="19800"/>
              </p14:xfrm>
            </p:contentPart>
          </mc:Choice>
          <mc:Fallback>
            <p:pic>
              <p:nvPicPr>
                <p:cNvPr id="3" name="Рукописный ввод 2">
                  <a:extLst>
                    <a:ext uri="{FF2B5EF4-FFF2-40B4-BE49-F238E27FC236}">
                      <a16:creationId xmlns:a16="http://schemas.microsoft.com/office/drawing/2014/main" id="{68B7D4B4-6538-4C44-AC06-A39F12DFCCB6}"/>
                    </a:ext>
                  </a:extLst>
                </p:cNvPr>
                <p:cNvPicPr/>
                <p:nvPr/>
              </p:nvPicPr>
              <p:blipFill>
                <a:blip r:embed="rId7"/>
                <a:stretch>
                  <a:fillRect/>
                </a:stretch>
              </p:blipFill>
              <p:spPr>
                <a:xfrm>
                  <a:off x="3931233" y="1861602"/>
                  <a:ext cx="417240" cy="3744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BBAE8DD3-4B34-4B21-9018-798F9DBDACAA}"/>
                    </a:ext>
                  </a:extLst>
                </p14:cNvPr>
                <p14:cNvContentPartPr/>
                <p14:nvPr/>
              </p14:nvContentPartPr>
              <p14:xfrm>
                <a:off x="4485633" y="1857282"/>
                <a:ext cx="415080" cy="8640"/>
              </p14:xfrm>
            </p:contentPart>
          </mc:Choice>
          <mc:Fallback>
            <p:pic>
              <p:nvPicPr>
                <p:cNvPr id="4" name="Рукописный ввод 3">
                  <a:extLst>
                    <a:ext uri="{FF2B5EF4-FFF2-40B4-BE49-F238E27FC236}">
                      <a16:creationId xmlns:a16="http://schemas.microsoft.com/office/drawing/2014/main" id="{BBAE8DD3-4B34-4B21-9018-798F9DBDACAA}"/>
                    </a:ext>
                  </a:extLst>
                </p:cNvPr>
                <p:cNvPicPr/>
                <p:nvPr/>
              </p:nvPicPr>
              <p:blipFill>
                <a:blip r:embed="rId9"/>
                <a:stretch>
                  <a:fillRect/>
                </a:stretch>
              </p:blipFill>
              <p:spPr>
                <a:xfrm>
                  <a:off x="4476993" y="1848282"/>
                  <a:ext cx="43272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4B06536B-5E9D-461A-A377-355148D351B9}"/>
                    </a:ext>
                  </a:extLst>
                </p14:cNvPr>
                <p14:cNvContentPartPr/>
                <p14:nvPr/>
              </p14:nvContentPartPr>
              <p14:xfrm>
                <a:off x="5117433" y="1823082"/>
                <a:ext cx="405720" cy="15480"/>
              </p14:xfrm>
            </p:contentPart>
          </mc:Choice>
          <mc:Fallback>
            <p:pic>
              <p:nvPicPr>
                <p:cNvPr id="5" name="Рукописный ввод 4">
                  <a:extLst>
                    <a:ext uri="{FF2B5EF4-FFF2-40B4-BE49-F238E27FC236}">
                      <a16:creationId xmlns:a16="http://schemas.microsoft.com/office/drawing/2014/main" id="{4B06536B-5E9D-461A-A377-355148D351B9}"/>
                    </a:ext>
                  </a:extLst>
                </p:cNvPr>
                <p:cNvPicPr/>
                <p:nvPr/>
              </p:nvPicPr>
              <p:blipFill>
                <a:blip r:embed="rId11"/>
                <a:stretch>
                  <a:fillRect/>
                </a:stretch>
              </p:blipFill>
              <p:spPr>
                <a:xfrm>
                  <a:off x="5108433" y="1814442"/>
                  <a:ext cx="42336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39FC4D0F-A620-46C0-B089-D35F16BF2D2F}"/>
                    </a:ext>
                  </a:extLst>
                </p14:cNvPr>
                <p14:cNvContentPartPr/>
                <p14:nvPr/>
              </p14:nvContentPartPr>
              <p14:xfrm>
                <a:off x="5702073" y="1795362"/>
                <a:ext cx="325440" cy="18720"/>
              </p14:xfrm>
            </p:contentPart>
          </mc:Choice>
          <mc:Fallback>
            <p:pic>
              <p:nvPicPr>
                <p:cNvPr id="7" name="Рукописный ввод 6">
                  <a:extLst>
                    <a:ext uri="{FF2B5EF4-FFF2-40B4-BE49-F238E27FC236}">
                      <a16:creationId xmlns:a16="http://schemas.microsoft.com/office/drawing/2014/main" id="{39FC4D0F-A620-46C0-B089-D35F16BF2D2F}"/>
                    </a:ext>
                  </a:extLst>
                </p:cNvPr>
                <p:cNvPicPr/>
                <p:nvPr/>
              </p:nvPicPr>
              <p:blipFill>
                <a:blip r:embed="rId13"/>
                <a:stretch>
                  <a:fillRect/>
                </a:stretch>
              </p:blipFill>
              <p:spPr>
                <a:xfrm>
                  <a:off x="5693073" y="1786362"/>
                  <a:ext cx="34308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24532CA6-7C25-491B-BA55-26961BD21847}"/>
                    </a:ext>
                  </a:extLst>
                </p14:cNvPr>
                <p14:cNvContentPartPr/>
                <p14:nvPr/>
              </p14:nvContentPartPr>
              <p14:xfrm>
                <a:off x="6274473" y="1824522"/>
                <a:ext cx="260640" cy="7560"/>
              </p14:xfrm>
            </p:contentPart>
          </mc:Choice>
          <mc:Fallback>
            <p:pic>
              <p:nvPicPr>
                <p:cNvPr id="8" name="Рукописный ввод 7">
                  <a:extLst>
                    <a:ext uri="{FF2B5EF4-FFF2-40B4-BE49-F238E27FC236}">
                      <a16:creationId xmlns:a16="http://schemas.microsoft.com/office/drawing/2014/main" id="{24532CA6-7C25-491B-BA55-26961BD21847}"/>
                    </a:ext>
                  </a:extLst>
                </p:cNvPr>
                <p:cNvPicPr/>
                <p:nvPr/>
              </p:nvPicPr>
              <p:blipFill>
                <a:blip r:embed="rId15"/>
                <a:stretch>
                  <a:fillRect/>
                </a:stretch>
              </p:blipFill>
              <p:spPr>
                <a:xfrm>
                  <a:off x="6265473" y="1815522"/>
                  <a:ext cx="2782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C986C818-8157-4621-B7DB-4B2AE329D8EB}"/>
                    </a:ext>
                  </a:extLst>
                </p14:cNvPr>
                <p14:cNvContentPartPr/>
                <p14:nvPr/>
              </p14:nvContentPartPr>
              <p14:xfrm>
                <a:off x="6500553" y="1833162"/>
                <a:ext cx="60120" cy="164160"/>
              </p14:xfrm>
            </p:contentPart>
          </mc:Choice>
          <mc:Fallback>
            <p:pic>
              <p:nvPicPr>
                <p:cNvPr id="9" name="Рукописный ввод 8">
                  <a:extLst>
                    <a:ext uri="{FF2B5EF4-FFF2-40B4-BE49-F238E27FC236}">
                      <a16:creationId xmlns:a16="http://schemas.microsoft.com/office/drawing/2014/main" id="{C986C818-8157-4621-B7DB-4B2AE329D8EB}"/>
                    </a:ext>
                  </a:extLst>
                </p:cNvPr>
                <p:cNvPicPr/>
                <p:nvPr/>
              </p:nvPicPr>
              <p:blipFill>
                <a:blip r:embed="rId17"/>
                <a:stretch>
                  <a:fillRect/>
                </a:stretch>
              </p:blipFill>
              <p:spPr>
                <a:xfrm>
                  <a:off x="6491913" y="1824162"/>
                  <a:ext cx="77760" cy="18180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DD92856D-06B0-44E6-966A-AFE7CBBE03B3}"/>
                    </a:ext>
                  </a:extLst>
                </p14:cNvPr>
                <p14:cNvContentPartPr/>
                <p14:nvPr/>
              </p14:nvContentPartPr>
              <p14:xfrm>
                <a:off x="6487233" y="2085162"/>
                <a:ext cx="23760" cy="147600"/>
              </p14:xfrm>
            </p:contentPart>
          </mc:Choice>
          <mc:Fallback>
            <p:pic>
              <p:nvPicPr>
                <p:cNvPr id="10" name="Рукописный ввод 9">
                  <a:extLst>
                    <a:ext uri="{FF2B5EF4-FFF2-40B4-BE49-F238E27FC236}">
                      <a16:creationId xmlns:a16="http://schemas.microsoft.com/office/drawing/2014/main" id="{DD92856D-06B0-44E6-966A-AFE7CBBE03B3}"/>
                    </a:ext>
                  </a:extLst>
                </p:cNvPr>
                <p:cNvPicPr/>
                <p:nvPr/>
              </p:nvPicPr>
              <p:blipFill>
                <a:blip r:embed="rId19"/>
                <a:stretch>
                  <a:fillRect/>
                </a:stretch>
              </p:blipFill>
              <p:spPr>
                <a:xfrm>
                  <a:off x="6478593" y="2076522"/>
                  <a:ext cx="41400" cy="16524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2" name="Рукописный ввод 11">
                  <a:extLst>
                    <a:ext uri="{FF2B5EF4-FFF2-40B4-BE49-F238E27FC236}">
                      <a16:creationId xmlns:a16="http://schemas.microsoft.com/office/drawing/2014/main" id="{42A3155D-B4A7-40A5-B4D4-DC180F045B23}"/>
                    </a:ext>
                  </a:extLst>
                </p14:cNvPr>
                <p14:cNvContentPartPr/>
                <p14:nvPr/>
              </p14:nvContentPartPr>
              <p14:xfrm>
                <a:off x="3929433" y="2304762"/>
                <a:ext cx="305640" cy="19080"/>
              </p14:xfrm>
            </p:contentPart>
          </mc:Choice>
          <mc:Fallback>
            <p:pic>
              <p:nvPicPr>
                <p:cNvPr id="12" name="Рукописный ввод 11">
                  <a:extLst>
                    <a:ext uri="{FF2B5EF4-FFF2-40B4-BE49-F238E27FC236}">
                      <a16:creationId xmlns:a16="http://schemas.microsoft.com/office/drawing/2014/main" id="{42A3155D-B4A7-40A5-B4D4-DC180F045B23}"/>
                    </a:ext>
                  </a:extLst>
                </p:cNvPr>
                <p:cNvPicPr/>
                <p:nvPr/>
              </p:nvPicPr>
              <p:blipFill>
                <a:blip r:embed="rId21"/>
                <a:stretch>
                  <a:fillRect/>
                </a:stretch>
              </p:blipFill>
              <p:spPr>
                <a:xfrm>
                  <a:off x="3920433" y="2295762"/>
                  <a:ext cx="323280" cy="367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3" name="Рукописный ввод 12">
                  <a:extLst>
                    <a:ext uri="{FF2B5EF4-FFF2-40B4-BE49-F238E27FC236}">
                      <a16:creationId xmlns:a16="http://schemas.microsoft.com/office/drawing/2014/main" id="{00EDD74C-446B-4453-A388-37106A2CA9B0}"/>
                    </a:ext>
                  </a:extLst>
                </p14:cNvPr>
                <p14:cNvContentPartPr/>
                <p14:nvPr/>
              </p14:nvContentPartPr>
              <p14:xfrm>
                <a:off x="4476993" y="2316282"/>
                <a:ext cx="455760" cy="360"/>
              </p14:xfrm>
            </p:contentPart>
          </mc:Choice>
          <mc:Fallback>
            <p:pic>
              <p:nvPicPr>
                <p:cNvPr id="13" name="Рукописный ввод 12">
                  <a:extLst>
                    <a:ext uri="{FF2B5EF4-FFF2-40B4-BE49-F238E27FC236}">
                      <a16:creationId xmlns:a16="http://schemas.microsoft.com/office/drawing/2014/main" id="{00EDD74C-446B-4453-A388-37106A2CA9B0}"/>
                    </a:ext>
                  </a:extLst>
                </p:cNvPr>
                <p:cNvPicPr/>
                <p:nvPr/>
              </p:nvPicPr>
              <p:blipFill>
                <a:blip r:embed="rId23"/>
                <a:stretch>
                  <a:fillRect/>
                </a:stretch>
              </p:blipFill>
              <p:spPr>
                <a:xfrm>
                  <a:off x="4467993" y="2307642"/>
                  <a:ext cx="4734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00C8F252-9293-45F4-80C6-41D553BF5465}"/>
                    </a:ext>
                  </a:extLst>
                </p14:cNvPr>
                <p14:cNvContentPartPr/>
                <p14:nvPr/>
              </p14:nvContentPartPr>
              <p14:xfrm>
                <a:off x="5124633" y="2286042"/>
                <a:ext cx="417960" cy="11520"/>
              </p14:xfrm>
            </p:contentPart>
          </mc:Choice>
          <mc:Fallback>
            <p:pic>
              <p:nvPicPr>
                <p:cNvPr id="14" name="Рукописный ввод 13">
                  <a:extLst>
                    <a:ext uri="{FF2B5EF4-FFF2-40B4-BE49-F238E27FC236}">
                      <a16:creationId xmlns:a16="http://schemas.microsoft.com/office/drawing/2014/main" id="{00C8F252-9293-45F4-80C6-41D553BF5465}"/>
                    </a:ext>
                  </a:extLst>
                </p:cNvPr>
                <p:cNvPicPr/>
                <p:nvPr/>
              </p:nvPicPr>
              <p:blipFill>
                <a:blip r:embed="rId25"/>
                <a:stretch>
                  <a:fillRect/>
                </a:stretch>
              </p:blipFill>
              <p:spPr>
                <a:xfrm>
                  <a:off x="5115993" y="2277042"/>
                  <a:ext cx="43560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61B201AA-D6E1-4D46-AF41-A650A3FE2E78}"/>
                    </a:ext>
                  </a:extLst>
                </p14:cNvPr>
                <p14:cNvContentPartPr/>
                <p14:nvPr/>
              </p14:nvContentPartPr>
              <p14:xfrm>
                <a:off x="5815113" y="2293242"/>
                <a:ext cx="393840" cy="2520"/>
              </p14:xfrm>
            </p:contentPart>
          </mc:Choice>
          <mc:Fallback>
            <p:pic>
              <p:nvPicPr>
                <p:cNvPr id="15" name="Рукописный ввод 14">
                  <a:extLst>
                    <a:ext uri="{FF2B5EF4-FFF2-40B4-BE49-F238E27FC236}">
                      <a16:creationId xmlns:a16="http://schemas.microsoft.com/office/drawing/2014/main" id="{61B201AA-D6E1-4D46-AF41-A650A3FE2E78}"/>
                    </a:ext>
                  </a:extLst>
                </p:cNvPr>
                <p:cNvPicPr/>
                <p:nvPr/>
              </p:nvPicPr>
              <p:blipFill>
                <a:blip r:embed="rId27"/>
                <a:stretch>
                  <a:fillRect/>
                </a:stretch>
              </p:blipFill>
              <p:spPr>
                <a:xfrm>
                  <a:off x="5806473" y="2284602"/>
                  <a:ext cx="411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E5C1AAC5-DAF9-4353-8C97-B1F86E1BC902}"/>
                    </a:ext>
                  </a:extLst>
                </p14:cNvPr>
                <p14:cNvContentPartPr/>
                <p14:nvPr/>
              </p14:nvContentPartPr>
              <p14:xfrm>
                <a:off x="6333873" y="2296482"/>
                <a:ext cx="164880" cy="6480"/>
              </p14:xfrm>
            </p:contentPart>
          </mc:Choice>
          <mc:Fallback>
            <p:pic>
              <p:nvPicPr>
                <p:cNvPr id="16" name="Рукописный ввод 15">
                  <a:extLst>
                    <a:ext uri="{FF2B5EF4-FFF2-40B4-BE49-F238E27FC236}">
                      <a16:creationId xmlns:a16="http://schemas.microsoft.com/office/drawing/2014/main" id="{E5C1AAC5-DAF9-4353-8C97-B1F86E1BC902}"/>
                    </a:ext>
                  </a:extLst>
                </p:cNvPr>
                <p:cNvPicPr/>
                <p:nvPr/>
              </p:nvPicPr>
              <p:blipFill>
                <a:blip r:embed="rId29"/>
                <a:stretch>
                  <a:fillRect/>
                </a:stretch>
              </p:blipFill>
              <p:spPr>
                <a:xfrm>
                  <a:off x="6325233" y="2287842"/>
                  <a:ext cx="18252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D4F32F27-532B-4B05-AD03-AFF6F0708FDC}"/>
                    </a:ext>
                  </a:extLst>
                </p14:cNvPr>
                <p14:cNvContentPartPr/>
                <p14:nvPr/>
              </p14:nvContentPartPr>
              <p14:xfrm>
                <a:off x="6477513" y="2235642"/>
                <a:ext cx="34560" cy="42120"/>
              </p14:xfrm>
            </p:contentPart>
          </mc:Choice>
          <mc:Fallback>
            <p:pic>
              <p:nvPicPr>
                <p:cNvPr id="17" name="Рукописный ввод 16">
                  <a:extLst>
                    <a:ext uri="{FF2B5EF4-FFF2-40B4-BE49-F238E27FC236}">
                      <a16:creationId xmlns:a16="http://schemas.microsoft.com/office/drawing/2014/main" id="{D4F32F27-532B-4B05-AD03-AFF6F0708FDC}"/>
                    </a:ext>
                  </a:extLst>
                </p:cNvPr>
                <p:cNvPicPr/>
                <p:nvPr/>
              </p:nvPicPr>
              <p:blipFill>
                <a:blip r:embed="rId31"/>
                <a:stretch>
                  <a:fillRect/>
                </a:stretch>
              </p:blipFill>
              <p:spPr>
                <a:xfrm>
                  <a:off x="6468873" y="2227002"/>
                  <a:ext cx="52200" cy="5976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34" name="Рукописный ввод 33">
                  <a:extLst>
                    <a:ext uri="{FF2B5EF4-FFF2-40B4-BE49-F238E27FC236}">
                      <a16:creationId xmlns:a16="http://schemas.microsoft.com/office/drawing/2014/main" id="{CFEEA008-235B-4B35-AD8C-C2B492CEA556}"/>
                    </a:ext>
                  </a:extLst>
                </p14:cNvPr>
                <p14:cNvContentPartPr/>
                <p14:nvPr/>
              </p14:nvContentPartPr>
              <p14:xfrm>
                <a:off x="6692073" y="1977522"/>
                <a:ext cx="24840" cy="153000"/>
              </p14:xfrm>
            </p:contentPart>
          </mc:Choice>
          <mc:Fallback>
            <p:pic>
              <p:nvPicPr>
                <p:cNvPr id="34" name="Рукописный ввод 33">
                  <a:extLst>
                    <a:ext uri="{FF2B5EF4-FFF2-40B4-BE49-F238E27FC236}">
                      <a16:creationId xmlns:a16="http://schemas.microsoft.com/office/drawing/2014/main" id="{CFEEA008-235B-4B35-AD8C-C2B492CEA556}"/>
                    </a:ext>
                  </a:extLst>
                </p:cNvPr>
                <p:cNvPicPr/>
                <p:nvPr/>
              </p:nvPicPr>
              <p:blipFill>
                <a:blip r:embed="rId33"/>
                <a:stretch>
                  <a:fillRect/>
                </a:stretch>
              </p:blipFill>
              <p:spPr>
                <a:xfrm>
                  <a:off x="6683073" y="1968882"/>
                  <a:ext cx="42480" cy="1706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35" name="Рукописный ввод 34">
                  <a:extLst>
                    <a:ext uri="{FF2B5EF4-FFF2-40B4-BE49-F238E27FC236}">
                      <a16:creationId xmlns:a16="http://schemas.microsoft.com/office/drawing/2014/main" id="{38BEFCA6-2E23-4B8C-BD17-5C7812481B65}"/>
                    </a:ext>
                  </a:extLst>
                </p14:cNvPr>
                <p14:cNvContentPartPr/>
                <p14:nvPr/>
              </p14:nvContentPartPr>
              <p14:xfrm>
                <a:off x="6622593" y="2138082"/>
                <a:ext cx="158760" cy="6120"/>
              </p14:xfrm>
            </p:contentPart>
          </mc:Choice>
          <mc:Fallback>
            <p:pic>
              <p:nvPicPr>
                <p:cNvPr id="35" name="Рукописный ввод 34">
                  <a:extLst>
                    <a:ext uri="{FF2B5EF4-FFF2-40B4-BE49-F238E27FC236}">
                      <a16:creationId xmlns:a16="http://schemas.microsoft.com/office/drawing/2014/main" id="{38BEFCA6-2E23-4B8C-BD17-5C7812481B65}"/>
                    </a:ext>
                  </a:extLst>
                </p:cNvPr>
                <p:cNvPicPr/>
                <p:nvPr/>
              </p:nvPicPr>
              <p:blipFill>
                <a:blip r:embed="rId35"/>
                <a:stretch>
                  <a:fillRect/>
                </a:stretch>
              </p:blipFill>
              <p:spPr>
                <a:xfrm>
                  <a:off x="6613593" y="2129082"/>
                  <a:ext cx="176400" cy="2376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37" name="Рукописный ввод 36">
                  <a:extLst>
                    <a:ext uri="{FF2B5EF4-FFF2-40B4-BE49-F238E27FC236}">
                      <a16:creationId xmlns:a16="http://schemas.microsoft.com/office/drawing/2014/main" id="{D0CEC93C-0E36-43D7-AF09-588693AF35FC}"/>
                    </a:ext>
                  </a:extLst>
                </p14:cNvPr>
                <p14:cNvContentPartPr/>
                <p14:nvPr/>
              </p14:nvContentPartPr>
              <p14:xfrm>
                <a:off x="6661473" y="1963842"/>
                <a:ext cx="118440" cy="2520"/>
              </p14:xfrm>
            </p:contentPart>
          </mc:Choice>
          <mc:Fallback>
            <p:pic>
              <p:nvPicPr>
                <p:cNvPr id="37" name="Рукописный ввод 36">
                  <a:extLst>
                    <a:ext uri="{FF2B5EF4-FFF2-40B4-BE49-F238E27FC236}">
                      <a16:creationId xmlns:a16="http://schemas.microsoft.com/office/drawing/2014/main" id="{D0CEC93C-0E36-43D7-AF09-588693AF35FC}"/>
                    </a:ext>
                  </a:extLst>
                </p:cNvPr>
                <p:cNvPicPr/>
                <p:nvPr/>
              </p:nvPicPr>
              <p:blipFill>
                <a:blip r:embed="rId37"/>
                <a:stretch>
                  <a:fillRect/>
                </a:stretch>
              </p:blipFill>
              <p:spPr>
                <a:xfrm>
                  <a:off x="6652473" y="1954842"/>
                  <a:ext cx="1360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38" name="Рукописный ввод 37">
                  <a:extLst>
                    <a:ext uri="{FF2B5EF4-FFF2-40B4-BE49-F238E27FC236}">
                      <a16:creationId xmlns:a16="http://schemas.microsoft.com/office/drawing/2014/main" id="{F6174CE9-00B5-475F-A200-C42878EFFDCF}"/>
                    </a:ext>
                  </a:extLst>
                </p14:cNvPr>
                <p14:cNvContentPartPr/>
                <p14:nvPr/>
              </p14:nvContentPartPr>
              <p14:xfrm>
                <a:off x="6829593" y="1960242"/>
                <a:ext cx="102600" cy="3960"/>
              </p14:xfrm>
            </p:contentPart>
          </mc:Choice>
          <mc:Fallback>
            <p:pic>
              <p:nvPicPr>
                <p:cNvPr id="38" name="Рукописный ввод 37">
                  <a:extLst>
                    <a:ext uri="{FF2B5EF4-FFF2-40B4-BE49-F238E27FC236}">
                      <a16:creationId xmlns:a16="http://schemas.microsoft.com/office/drawing/2014/main" id="{F6174CE9-00B5-475F-A200-C42878EFFDCF}"/>
                    </a:ext>
                  </a:extLst>
                </p:cNvPr>
                <p:cNvPicPr/>
                <p:nvPr/>
              </p:nvPicPr>
              <p:blipFill>
                <a:blip r:embed="rId39"/>
                <a:stretch>
                  <a:fillRect/>
                </a:stretch>
              </p:blipFill>
              <p:spPr>
                <a:xfrm>
                  <a:off x="6820593" y="1951242"/>
                  <a:ext cx="1202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9" name="Рукописный ввод 38">
                  <a:extLst>
                    <a:ext uri="{FF2B5EF4-FFF2-40B4-BE49-F238E27FC236}">
                      <a16:creationId xmlns:a16="http://schemas.microsoft.com/office/drawing/2014/main" id="{C43E950A-9C12-4EF6-9AB8-9E708D23203D}"/>
                    </a:ext>
                  </a:extLst>
                </p14:cNvPr>
                <p14:cNvContentPartPr/>
                <p14:nvPr/>
              </p14:nvContentPartPr>
              <p14:xfrm>
                <a:off x="6829593" y="1963842"/>
                <a:ext cx="10440" cy="156960"/>
              </p14:xfrm>
            </p:contentPart>
          </mc:Choice>
          <mc:Fallback>
            <p:pic>
              <p:nvPicPr>
                <p:cNvPr id="39" name="Рукописный ввод 38">
                  <a:extLst>
                    <a:ext uri="{FF2B5EF4-FFF2-40B4-BE49-F238E27FC236}">
                      <a16:creationId xmlns:a16="http://schemas.microsoft.com/office/drawing/2014/main" id="{C43E950A-9C12-4EF6-9AB8-9E708D23203D}"/>
                    </a:ext>
                  </a:extLst>
                </p:cNvPr>
                <p:cNvPicPr/>
                <p:nvPr/>
              </p:nvPicPr>
              <p:blipFill>
                <a:blip r:embed="rId41"/>
                <a:stretch>
                  <a:fillRect/>
                </a:stretch>
              </p:blipFill>
              <p:spPr>
                <a:xfrm>
                  <a:off x="6820593" y="1954842"/>
                  <a:ext cx="28080" cy="1746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40" name="Рукописный ввод 39">
                  <a:extLst>
                    <a:ext uri="{FF2B5EF4-FFF2-40B4-BE49-F238E27FC236}">
                      <a16:creationId xmlns:a16="http://schemas.microsoft.com/office/drawing/2014/main" id="{4E7098FE-42EE-4E60-A8A0-5AA61246C678}"/>
                    </a:ext>
                  </a:extLst>
                </p14:cNvPr>
                <p14:cNvContentPartPr/>
                <p14:nvPr/>
              </p14:nvContentPartPr>
              <p14:xfrm>
                <a:off x="6782433" y="2054922"/>
                <a:ext cx="84960" cy="5760"/>
              </p14:xfrm>
            </p:contentPart>
          </mc:Choice>
          <mc:Fallback>
            <p:pic>
              <p:nvPicPr>
                <p:cNvPr id="40" name="Рукописный ввод 39">
                  <a:extLst>
                    <a:ext uri="{FF2B5EF4-FFF2-40B4-BE49-F238E27FC236}">
                      <a16:creationId xmlns:a16="http://schemas.microsoft.com/office/drawing/2014/main" id="{4E7098FE-42EE-4E60-A8A0-5AA61246C678}"/>
                    </a:ext>
                  </a:extLst>
                </p:cNvPr>
                <p:cNvPicPr/>
                <p:nvPr/>
              </p:nvPicPr>
              <p:blipFill>
                <a:blip r:embed="rId43"/>
                <a:stretch>
                  <a:fillRect/>
                </a:stretch>
              </p:blipFill>
              <p:spPr>
                <a:xfrm>
                  <a:off x="6773433" y="2045922"/>
                  <a:ext cx="10260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41" name="Рукописный ввод 40">
                  <a:extLst>
                    <a:ext uri="{FF2B5EF4-FFF2-40B4-BE49-F238E27FC236}">
                      <a16:creationId xmlns:a16="http://schemas.microsoft.com/office/drawing/2014/main" id="{FE330F85-BDBF-4957-88B5-A7ECD9E66633}"/>
                    </a:ext>
                  </a:extLst>
                </p14:cNvPr>
                <p14:cNvContentPartPr/>
                <p14:nvPr/>
              </p14:nvContentPartPr>
              <p14:xfrm>
                <a:off x="6892953" y="2040522"/>
                <a:ext cx="105120" cy="77040"/>
              </p14:xfrm>
            </p:contentPart>
          </mc:Choice>
          <mc:Fallback>
            <p:pic>
              <p:nvPicPr>
                <p:cNvPr id="41" name="Рукописный ввод 40">
                  <a:extLst>
                    <a:ext uri="{FF2B5EF4-FFF2-40B4-BE49-F238E27FC236}">
                      <a16:creationId xmlns:a16="http://schemas.microsoft.com/office/drawing/2014/main" id="{FE330F85-BDBF-4957-88B5-A7ECD9E66633}"/>
                    </a:ext>
                  </a:extLst>
                </p:cNvPr>
                <p:cNvPicPr/>
                <p:nvPr/>
              </p:nvPicPr>
              <p:blipFill>
                <a:blip r:embed="rId45"/>
                <a:stretch>
                  <a:fillRect/>
                </a:stretch>
              </p:blipFill>
              <p:spPr>
                <a:xfrm>
                  <a:off x="6883953" y="2031882"/>
                  <a:ext cx="12276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47" name="Рукописный ввод 46">
                  <a:extLst>
                    <a:ext uri="{FF2B5EF4-FFF2-40B4-BE49-F238E27FC236}">
                      <a16:creationId xmlns:a16="http://schemas.microsoft.com/office/drawing/2014/main" id="{9EF9ED92-93B1-405A-97B4-B681785661F0}"/>
                    </a:ext>
                  </a:extLst>
                </p14:cNvPr>
                <p14:cNvContentPartPr/>
                <p14:nvPr/>
              </p14:nvContentPartPr>
              <p14:xfrm>
                <a:off x="7020393" y="2040882"/>
                <a:ext cx="69840" cy="61560"/>
              </p14:xfrm>
            </p:contentPart>
          </mc:Choice>
          <mc:Fallback>
            <p:pic>
              <p:nvPicPr>
                <p:cNvPr id="47" name="Рукописный ввод 46">
                  <a:extLst>
                    <a:ext uri="{FF2B5EF4-FFF2-40B4-BE49-F238E27FC236}">
                      <a16:creationId xmlns:a16="http://schemas.microsoft.com/office/drawing/2014/main" id="{9EF9ED92-93B1-405A-97B4-B681785661F0}"/>
                    </a:ext>
                  </a:extLst>
                </p:cNvPr>
                <p:cNvPicPr/>
                <p:nvPr/>
              </p:nvPicPr>
              <p:blipFill>
                <a:blip r:embed="rId47"/>
                <a:stretch>
                  <a:fillRect/>
                </a:stretch>
              </p:blipFill>
              <p:spPr>
                <a:xfrm>
                  <a:off x="7011753" y="2031882"/>
                  <a:ext cx="8748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48" name="Рукописный ввод 47">
                  <a:extLst>
                    <a:ext uri="{FF2B5EF4-FFF2-40B4-BE49-F238E27FC236}">
                      <a16:creationId xmlns:a16="http://schemas.microsoft.com/office/drawing/2014/main" id="{CCE29356-B29E-4D0E-92F7-7F44015ECF65}"/>
                    </a:ext>
                  </a:extLst>
                </p14:cNvPr>
                <p14:cNvContentPartPr/>
                <p14:nvPr/>
              </p14:nvContentPartPr>
              <p14:xfrm>
                <a:off x="7097433" y="2021802"/>
                <a:ext cx="9000" cy="84960"/>
              </p14:xfrm>
            </p:contentPart>
          </mc:Choice>
          <mc:Fallback>
            <p:pic>
              <p:nvPicPr>
                <p:cNvPr id="48" name="Рукописный ввод 47">
                  <a:extLst>
                    <a:ext uri="{FF2B5EF4-FFF2-40B4-BE49-F238E27FC236}">
                      <a16:creationId xmlns:a16="http://schemas.microsoft.com/office/drawing/2014/main" id="{CCE29356-B29E-4D0E-92F7-7F44015ECF65}"/>
                    </a:ext>
                  </a:extLst>
                </p:cNvPr>
                <p:cNvPicPr/>
                <p:nvPr/>
              </p:nvPicPr>
              <p:blipFill>
                <a:blip r:embed="rId49"/>
                <a:stretch>
                  <a:fillRect/>
                </a:stretch>
              </p:blipFill>
              <p:spPr>
                <a:xfrm>
                  <a:off x="7088433" y="2013162"/>
                  <a:ext cx="26640" cy="1026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9" name="Рукописный ввод 48">
                  <a:extLst>
                    <a:ext uri="{FF2B5EF4-FFF2-40B4-BE49-F238E27FC236}">
                      <a16:creationId xmlns:a16="http://schemas.microsoft.com/office/drawing/2014/main" id="{96D2775B-59A5-414C-ABC8-487F1847D4F2}"/>
                    </a:ext>
                  </a:extLst>
                </p14:cNvPr>
                <p14:cNvContentPartPr/>
                <p14:nvPr/>
              </p14:nvContentPartPr>
              <p14:xfrm>
                <a:off x="7176633" y="1934682"/>
                <a:ext cx="59040" cy="202320"/>
              </p14:xfrm>
            </p:contentPart>
          </mc:Choice>
          <mc:Fallback>
            <p:pic>
              <p:nvPicPr>
                <p:cNvPr id="49" name="Рукописный ввод 48">
                  <a:extLst>
                    <a:ext uri="{FF2B5EF4-FFF2-40B4-BE49-F238E27FC236}">
                      <a16:creationId xmlns:a16="http://schemas.microsoft.com/office/drawing/2014/main" id="{96D2775B-59A5-414C-ABC8-487F1847D4F2}"/>
                    </a:ext>
                  </a:extLst>
                </p:cNvPr>
                <p:cNvPicPr/>
                <p:nvPr/>
              </p:nvPicPr>
              <p:blipFill>
                <a:blip r:embed="rId51"/>
                <a:stretch>
                  <a:fillRect/>
                </a:stretch>
              </p:blipFill>
              <p:spPr>
                <a:xfrm>
                  <a:off x="7167633" y="1926042"/>
                  <a:ext cx="76680" cy="21996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50" name="Рукописный ввод 49">
                  <a:extLst>
                    <a:ext uri="{FF2B5EF4-FFF2-40B4-BE49-F238E27FC236}">
                      <a16:creationId xmlns:a16="http://schemas.microsoft.com/office/drawing/2014/main" id="{643548A7-9FBA-4E72-A9FA-7E5883549B1A}"/>
                    </a:ext>
                  </a:extLst>
                </p14:cNvPr>
                <p14:cNvContentPartPr/>
                <p14:nvPr/>
              </p14:nvContentPartPr>
              <p14:xfrm>
                <a:off x="7146033" y="2043042"/>
                <a:ext cx="80280" cy="5760"/>
              </p14:xfrm>
            </p:contentPart>
          </mc:Choice>
          <mc:Fallback>
            <p:pic>
              <p:nvPicPr>
                <p:cNvPr id="50" name="Рукописный ввод 49">
                  <a:extLst>
                    <a:ext uri="{FF2B5EF4-FFF2-40B4-BE49-F238E27FC236}">
                      <a16:creationId xmlns:a16="http://schemas.microsoft.com/office/drawing/2014/main" id="{643548A7-9FBA-4E72-A9FA-7E5883549B1A}"/>
                    </a:ext>
                  </a:extLst>
                </p:cNvPr>
                <p:cNvPicPr/>
                <p:nvPr/>
              </p:nvPicPr>
              <p:blipFill>
                <a:blip r:embed="rId53"/>
                <a:stretch>
                  <a:fillRect/>
                </a:stretch>
              </p:blipFill>
              <p:spPr>
                <a:xfrm>
                  <a:off x="7137393" y="2034042"/>
                  <a:ext cx="97920" cy="2340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51" name="Рукописный ввод 50">
                  <a:extLst>
                    <a:ext uri="{FF2B5EF4-FFF2-40B4-BE49-F238E27FC236}">
                      <a16:creationId xmlns:a16="http://schemas.microsoft.com/office/drawing/2014/main" id="{8740346F-0220-41D7-9AE0-24EFD152A537}"/>
                    </a:ext>
                  </a:extLst>
                </p14:cNvPr>
                <p14:cNvContentPartPr/>
                <p14:nvPr/>
              </p14:nvContentPartPr>
              <p14:xfrm>
                <a:off x="7251873" y="2038362"/>
                <a:ext cx="101520" cy="64440"/>
              </p14:xfrm>
            </p:contentPart>
          </mc:Choice>
          <mc:Fallback>
            <p:pic>
              <p:nvPicPr>
                <p:cNvPr id="51" name="Рукописный ввод 50">
                  <a:extLst>
                    <a:ext uri="{FF2B5EF4-FFF2-40B4-BE49-F238E27FC236}">
                      <a16:creationId xmlns:a16="http://schemas.microsoft.com/office/drawing/2014/main" id="{8740346F-0220-41D7-9AE0-24EFD152A537}"/>
                    </a:ext>
                  </a:extLst>
                </p:cNvPr>
                <p:cNvPicPr/>
                <p:nvPr/>
              </p:nvPicPr>
              <p:blipFill>
                <a:blip r:embed="rId55"/>
                <a:stretch>
                  <a:fillRect/>
                </a:stretch>
              </p:blipFill>
              <p:spPr>
                <a:xfrm>
                  <a:off x="7243233" y="2029722"/>
                  <a:ext cx="119160" cy="820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52" name="Рукописный ввод 51">
                  <a:extLst>
                    <a:ext uri="{FF2B5EF4-FFF2-40B4-BE49-F238E27FC236}">
                      <a16:creationId xmlns:a16="http://schemas.microsoft.com/office/drawing/2014/main" id="{2A9125F3-1E4F-489F-890B-5FE3717ED134}"/>
                    </a:ext>
                  </a:extLst>
                </p14:cNvPr>
                <p14:cNvContentPartPr/>
                <p14:nvPr/>
              </p14:nvContentPartPr>
              <p14:xfrm>
                <a:off x="7389753" y="2030442"/>
                <a:ext cx="52560" cy="69840"/>
              </p14:xfrm>
            </p:contentPart>
          </mc:Choice>
          <mc:Fallback>
            <p:pic>
              <p:nvPicPr>
                <p:cNvPr id="52" name="Рукописный ввод 51">
                  <a:extLst>
                    <a:ext uri="{FF2B5EF4-FFF2-40B4-BE49-F238E27FC236}">
                      <a16:creationId xmlns:a16="http://schemas.microsoft.com/office/drawing/2014/main" id="{2A9125F3-1E4F-489F-890B-5FE3717ED134}"/>
                    </a:ext>
                  </a:extLst>
                </p:cNvPr>
                <p:cNvPicPr/>
                <p:nvPr/>
              </p:nvPicPr>
              <p:blipFill>
                <a:blip r:embed="rId57"/>
                <a:stretch>
                  <a:fillRect/>
                </a:stretch>
              </p:blipFill>
              <p:spPr>
                <a:xfrm>
                  <a:off x="7380753" y="2021442"/>
                  <a:ext cx="70200" cy="8748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53" name="Рукописный ввод 52">
                  <a:extLst>
                    <a:ext uri="{FF2B5EF4-FFF2-40B4-BE49-F238E27FC236}">
                      <a16:creationId xmlns:a16="http://schemas.microsoft.com/office/drawing/2014/main" id="{77DEE936-FC4D-4327-A86D-E9CAE5AACA2C}"/>
                    </a:ext>
                  </a:extLst>
                </p14:cNvPr>
                <p14:cNvContentPartPr/>
                <p14:nvPr/>
              </p14:nvContentPartPr>
              <p14:xfrm>
                <a:off x="7462473" y="2030442"/>
                <a:ext cx="152640" cy="77760"/>
              </p14:xfrm>
            </p:contentPart>
          </mc:Choice>
          <mc:Fallback>
            <p:pic>
              <p:nvPicPr>
                <p:cNvPr id="53" name="Рукописный ввод 52">
                  <a:extLst>
                    <a:ext uri="{FF2B5EF4-FFF2-40B4-BE49-F238E27FC236}">
                      <a16:creationId xmlns:a16="http://schemas.microsoft.com/office/drawing/2014/main" id="{77DEE936-FC4D-4327-A86D-E9CAE5AACA2C}"/>
                    </a:ext>
                  </a:extLst>
                </p:cNvPr>
                <p:cNvPicPr/>
                <p:nvPr/>
              </p:nvPicPr>
              <p:blipFill>
                <a:blip r:embed="rId59"/>
                <a:stretch>
                  <a:fillRect/>
                </a:stretch>
              </p:blipFill>
              <p:spPr>
                <a:xfrm>
                  <a:off x="7453833" y="2021802"/>
                  <a:ext cx="170280" cy="95400"/>
                </a:xfrm>
                <a:prstGeom prst="rect">
                  <a:avLst/>
                </a:prstGeom>
              </p:spPr>
            </p:pic>
          </mc:Fallback>
        </mc:AlternateContent>
      </p:grpSp>
    </p:spTree>
    <p:extLst>
      <p:ext uri="{BB962C8B-B14F-4D97-AF65-F5344CB8AC3E}">
        <p14:creationId xmlns:p14="http://schemas.microsoft.com/office/powerpoint/2010/main" val="227586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873" y="922362"/>
                <a:ext cx="380160" cy="1872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2193" y="99832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673" y="79492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33" y="924882"/>
                  <a:ext cx="11412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33" y="833802"/>
                  <a:ext cx="76320"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44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87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60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713" y="915162"/>
                  <a:ext cx="61920"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2833" y="871962"/>
                  <a:ext cx="20520" cy="331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832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082"/>
                  <a:ext cx="111960" cy="72720"/>
                </a:xfrm>
                <a:prstGeom prst="rect">
                  <a:avLst/>
                </a:prstGeom>
              </p:spPr>
            </p:pic>
          </mc:Fallback>
        </mc:AlternateContent>
      </p:grpSp>
    </p:spTree>
    <p:extLst>
      <p:ext uri="{BB962C8B-B14F-4D97-AF65-F5344CB8AC3E}">
        <p14:creationId xmlns:p14="http://schemas.microsoft.com/office/powerpoint/2010/main" val="19332260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513" y="921983"/>
                <a:ext cx="380160" cy="187238"/>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1833" y="997962"/>
                <a:ext cx="154440" cy="1281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mc:Choice xmlns:p14="http://schemas.microsoft.com/office/powerpoint/2010/main"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313" y="794562"/>
                  <a:ext cx="171360" cy="12348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66" y="924926"/>
                  <a:ext cx="114054" cy="90994"/>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88" y="833442"/>
                  <a:ext cx="76212" cy="1785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082"/>
                  <a:ext cx="10944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513" y="889242"/>
                  <a:ext cx="507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242"/>
                  <a:ext cx="10584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279" y="914802"/>
                  <a:ext cx="62065"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1187" y="872167"/>
                  <a:ext cx="23040" cy="32719"/>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7962"/>
                  <a:ext cx="85320" cy="7704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140"/>
                  <a:ext cx="111960" cy="72605"/>
                </a:xfrm>
                <a:prstGeom prst="rect">
                  <a:avLst/>
                </a:prstGeom>
              </p:spPr>
            </p:pic>
          </mc:Fallback>
        </mc:AlternateContent>
      </p:grpSp>
      <p:grpSp>
        <p:nvGrpSpPr>
          <p:cNvPr id="8" name="Группа 7">
            <a:extLst>
              <a:ext uri="{FF2B5EF4-FFF2-40B4-BE49-F238E27FC236}">
                <a16:creationId xmlns:a16="http://schemas.microsoft.com/office/drawing/2014/main" id="{32CAB891-5E67-4905-8E6D-25EED65F8D85}"/>
              </a:ext>
            </a:extLst>
          </p:cNvPr>
          <p:cNvGrpSpPr/>
          <p:nvPr/>
        </p:nvGrpSpPr>
        <p:grpSpPr>
          <a:xfrm>
            <a:off x="2410593" y="4505802"/>
            <a:ext cx="333000" cy="130320"/>
            <a:chOff x="2410593" y="4505802"/>
            <a:chExt cx="333000" cy="130320"/>
          </a:xfrm>
        </p:grpSpPr>
        <mc:AlternateContent xmlns:mc="http://schemas.openxmlformats.org/markup-compatibility/2006">
          <mc:Choice xmlns:p14="http://schemas.microsoft.com/office/powerpoint/2010/main" Requires="p14">
            <p:contentPart p14:bwMode="auto" r:id="rId36">
              <p14:nvContentPartPr>
                <p14:cNvPr id="3" name="Рукописный ввод 2">
                  <a:extLst>
                    <a:ext uri="{FF2B5EF4-FFF2-40B4-BE49-F238E27FC236}">
                      <a16:creationId xmlns:a16="http://schemas.microsoft.com/office/drawing/2014/main" id="{31948803-D175-49E9-A2B9-A93B7BF45532}"/>
                    </a:ext>
                  </a:extLst>
                </p14:cNvPr>
                <p14:cNvContentPartPr/>
                <p14:nvPr/>
              </p14:nvContentPartPr>
              <p14:xfrm>
                <a:off x="2410593" y="4559442"/>
                <a:ext cx="279360" cy="76680"/>
              </p14:xfrm>
            </p:contentPart>
          </mc:Choice>
          <mc:Fallback>
            <p:pic>
              <p:nvPicPr>
                <p:cNvPr id="3" name="Рукописный ввод 2">
                  <a:extLst>
                    <a:ext uri="{FF2B5EF4-FFF2-40B4-BE49-F238E27FC236}">
                      <a16:creationId xmlns:a16="http://schemas.microsoft.com/office/drawing/2014/main" id="{31948803-D175-49E9-A2B9-A93B7BF45532}"/>
                    </a:ext>
                  </a:extLst>
                </p:cNvPr>
                <p:cNvPicPr/>
                <p:nvPr/>
              </p:nvPicPr>
              <p:blipFill>
                <a:blip r:embed="rId37"/>
                <a:stretch>
                  <a:fillRect/>
                </a:stretch>
              </p:blipFill>
              <p:spPr>
                <a:xfrm>
                  <a:off x="2401593" y="4550802"/>
                  <a:ext cx="297000" cy="9432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4" name="Рукописный ввод 3">
                  <a:extLst>
                    <a:ext uri="{FF2B5EF4-FFF2-40B4-BE49-F238E27FC236}">
                      <a16:creationId xmlns:a16="http://schemas.microsoft.com/office/drawing/2014/main" id="{7DC61682-DE44-4A1C-81F6-94DAF7F794DE}"/>
                    </a:ext>
                  </a:extLst>
                </p14:cNvPr>
                <p14:cNvContentPartPr/>
                <p14:nvPr/>
              </p14:nvContentPartPr>
              <p14:xfrm>
                <a:off x="2621193" y="4505802"/>
                <a:ext cx="122400" cy="117720"/>
              </p14:xfrm>
            </p:contentPart>
          </mc:Choice>
          <mc:Fallback>
            <p:pic>
              <p:nvPicPr>
                <p:cNvPr id="4" name="Рукописный ввод 3">
                  <a:extLst>
                    <a:ext uri="{FF2B5EF4-FFF2-40B4-BE49-F238E27FC236}">
                      <a16:creationId xmlns:a16="http://schemas.microsoft.com/office/drawing/2014/main" id="{7DC61682-DE44-4A1C-81F6-94DAF7F794DE}"/>
                    </a:ext>
                  </a:extLst>
                </p:cNvPr>
                <p:cNvPicPr/>
                <p:nvPr/>
              </p:nvPicPr>
              <p:blipFill>
                <a:blip r:embed="rId39"/>
                <a:stretch>
                  <a:fillRect/>
                </a:stretch>
              </p:blipFill>
              <p:spPr>
                <a:xfrm>
                  <a:off x="2612193" y="4497162"/>
                  <a:ext cx="140040" cy="135360"/>
                </a:xfrm>
                <a:prstGeom prst="rect">
                  <a:avLst/>
                </a:prstGeom>
              </p:spPr>
            </p:pic>
          </mc:Fallback>
        </mc:AlternateContent>
      </p:grpSp>
      <p:grpSp>
        <p:nvGrpSpPr>
          <p:cNvPr id="24" name="Группа 23">
            <a:extLst>
              <a:ext uri="{FF2B5EF4-FFF2-40B4-BE49-F238E27FC236}">
                <a16:creationId xmlns:a16="http://schemas.microsoft.com/office/drawing/2014/main" id="{55A84107-34E8-49B7-A94D-5D4D5282ED30}"/>
              </a:ext>
            </a:extLst>
          </p:cNvPr>
          <p:cNvGrpSpPr/>
          <p:nvPr/>
        </p:nvGrpSpPr>
        <p:grpSpPr>
          <a:xfrm>
            <a:off x="1549473" y="4722522"/>
            <a:ext cx="874080" cy="205200"/>
            <a:chOff x="1549473" y="4722522"/>
            <a:chExt cx="874080" cy="205200"/>
          </a:xfrm>
        </p:grpSpPr>
        <mc:AlternateContent xmlns:mc="http://schemas.openxmlformats.org/markup-compatibility/2006">
          <mc:Choice xmlns:p14="http://schemas.microsoft.com/office/powerpoint/2010/main" Requires="p14">
            <p:contentPart p14:bwMode="auto" r:id="rId40">
              <p14:nvContentPartPr>
                <p14:cNvPr id="9" name="Рукописный ввод 8">
                  <a:extLst>
                    <a:ext uri="{FF2B5EF4-FFF2-40B4-BE49-F238E27FC236}">
                      <a16:creationId xmlns:a16="http://schemas.microsoft.com/office/drawing/2014/main" id="{35154B49-BA20-406A-853E-7ED71B93A017}"/>
                    </a:ext>
                  </a:extLst>
                </p14:cNvPr>
                <p14:cNvContentPartPr/>
                <p14:nvPr/>
              </p14:nvContentPartPr>
              <p14:xfrm>
                <a:off x="1566753" y="4758882"/>
                <a:ext cx="36720" cy="144360"/>
              </p14:xfrm>
            </p:contentPart>
          </mc:Choice>
          <mc:Fallback>
            <p:pic>
              <p:nvPicPr>
                <p:cNvPr id="9" name="Рукописный ввод 8">
                  <a:extLst>
                    <a:ext uri="{FF2B5EF4-FFF2-40B4-BE49-F238E27FC236}">
                      <a16:creationId xmlns:a16="http://schemas.microsoft.com/office/drawing/2014/main" id="{35154B49-BA20-406A-853E-7ED71B93A017}"/>
                    </a:ext>
                  </a:extLst>
                </p:cNvPr>
                <p:cNvPicPr/>
                <p:nvPr/>
              </p:nvPicPr>
              <p:blipFill>
                <a:blip r:embed="rId41"/>
                <a:stretch>
                  <a:fillRect/>
                </a:stretch>
              </p:blipFill>
              <p:spPr>
                <a:xfrm>
                  <a:off x="1557753" y="4749882"/>
                  <a:ext cx="54360" cy="162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10" name="Рукописный ввод 9">
                  <a:extLst>
                    <a:ext uri="{FF2B5EF4-FFF2-40B4-BE49-F238E27FC236}">
                      <a16:creationId xmlns:a16="http://schemas.microsoft.com/office/drawing/2014/main" id="{FB1EA0D3-B3F9-45EF-865A-50B9297F2250}"/>
                    </a:ext>
                  </a:extLst>
                </p14:cNvPr>
                <p14:cNvContentPartPr/>
                <p14:nvPr/>
              </p14:nvContentPartPr>
              <p14:xfrm>
                <a:off x="1549473" y="4722522"/>
                <a:ext cx="126000" cy="77040"/>
              </p14:xfrm>
            </p:contentPart>
          </mc:Choice>
          <mc:Fallback>
            <p:pic>
              <p:nvPicPr>
                <p:cNvPr id="10" name="Рукописный ввод 9">
                  <a:extLst>
                    <a:ext uri="{FF2B5EF4-FFF2-40B4-BE49-F238E27FC236}">
                      <a16:creationId xmlns:a16="http://schemas.microsoft.com/office/drawing/2014/main" id="{FB1EA0D3-B3F9-45EF-865A-50B9297F2250}"/>
                    </a:ext>
                  </a:extLst>
                </p:cNvPr>
                <p:cNvPicPr/>
                <p:nvPr/>
              </p:nvPicPr>
              <p:blipFill>
                <a:blip r:embed="rId43"/>
                <a:stretch>
                  <a:fillRect/>
                </a:stretch>
              </p:blipFill>
              <p:spPr>
                <a:xfrm>
                  <a:off x="1540473" y="4713522"/>
                  <a:ext cx="143640" cy="946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12" name="Рукописный ввод 11">
                  <a:extLst>
                    <a:ext uri="{FF2B5EF4-FFF2-40B4-BE49-F238E27FC236}">
                      <a16:creationId xmlns:a16="http://schemas.microsoft.com/office/drawing/2014/main" id="{D296C34A-A91E-484E-B161-181E6D94A410}"/>
                    </a:ext>
                  </a:extLst>
                </p14:cNvPr>
                <p14:cNvContentPartPr/>
                <p14:nvPr/>
              </p14:nvContentPartPr>
              <p14:xfrm>
                <a:off x="1659273" y="4829082"/>
                <a:ext cx="125640" cy="62280"/>
              </p14:xfrm>
            </p:contentPart>
          </mc:Choice>
          <mc:Fallback>
            <p:pic>
              <p:nvPicPr>
                <p:cNvPr id="12" name="Рукописный ввод 11">
                  <a:extLst>
                    <a:ext uri="{FF2B5EF4-FFF2-40B4-BE49-F238E27FC236}">
                      <a16:creationId xmlns:a16="http://schemas.microsoft.com/office/drawing/2014/main" id="{D296C34A-A91E-484E-B161-181E6D94A410}"/>
                    </a:ext>
                  </a:extLst>
                </p:cNvPr>
                <p:cNvPicPr/>
                <p:nvPr/>
              </p:nvPicPr>
              <p:blipFill>
                <a:blip r:embed="rId45"/>
                <a:stretch>
                  <a:fillRect/>
                </a:stretch>
              </p:blipFill>
              <p:spPr>
                <a:xfrm>
                  <a:off x="1650273" y="4820082"/>
                  <a:ext cx="14328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13" name="Рукописный ввод 12">
                  <a:extLst>
                    <a:ext uri="{FF2B5EF4-FFF2-40B4-BE49-F238E27FC236}">
                      <a16:creationId xmlns:a16="http://schemas.microsoft.com/office/drawing/2014/main" id="{E7D97330-FA61-485C-B703-28B1B1FD5970}"/>
                    </a:ext>
                  </a:extLst>
                </p14:cNvPr>
                <p14:cNvContentPartPr/>
                <p14:nvPr/>
              </p14:nvContentPartPr>
              <p14:xfrm>
                <a:off x="1798953" y="4839162"/>
                <a:ext cx="33480" cy="60480"/>
              </p14:xfrm>
            </p:contentPart>
          </mc:Choice>
          <mc:Fallback>
            <p:pic>
              <p:nvPicPr>
                <p:cNvPr id="13" name="Рукописный ввод 12">
                  <a:extLst>
                    <a:ext uri="{FF2B5EF4-FFF2-40B4-BE49-F238E27FC236}">
                      <a16:creationId xmlns:a16="http://schemas.microsoft.com/office/drawing/2014/main" id="{E7D97330-FA61-485C-B703-28B1B1FD5970}"/>
                    </a:ext>
                  </a:extLst>
                </p:cNvPr>
                <p:cNvPicPr/>
                <p:nvPr/>
              </p:nvPicPr>
              <p:blipFill>
                <a:blip r:embed="rId47"/>
                <a:stretch>
                  <a:fillRect/>
                </a:stretch>
              </p:blipFill>
              <p:spPr>
                <a:xfrm>
                  <a:off x="1790313" y="4830522"/>
                  <a:ext cx="51120" cy="7812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14" name="Рукописный ввод 13">
                  <a:extLst>
                    <a:ext uri="{FF2B5EF4-FFF2-40B4-BE49-F238E27FC236}">
                      <a16:creationId xmlns:a16="http://schemas.microsoft.com/office/drawing/2014/main" id="{DA053249-8E8B-4DC0-8F56-4D17FAC957A0}"/>
                    </a:ext>
                  </a:extLst>
                </p14:cNvPr>
                <p14:cNvContentPartPr/>
                <p14:nvPr/>
              </p14:nvContentPartPr>
              <p14:xfrm>
                <a:off x="1894353" y="4750242"/>
                <a:ext cx="43920" cy="154080"/>
              </p14:xfrm>
            </p:contentPart>
          </mc:Choice>
          <mc:Fallback>
            <p:pic>
              <p:nvPicPr>
                <p:cNvPr id="14" name="Рукописный ввод 13">
                  <a:extLst>
                    <a:ext uri="{FF2B5EF4-FFF2-40B4-BE49-F238E27FC236}">
                      <a16:creationId xmlns:a16="http://schemas.microsoft.com/office/drawing/2014/main" id="{DA053249-8E8B-4DC0-8F56-4D17FAC957A0}"/>
                    </a:ext>
                  </a:extLst>
                </p:cNvPr>
                <p:cNvPicPr/>
                <p:nvPr/>
              </p:nvPicPr>
              <p:blipFill>
                <a:blip r:embed="rId49"/>
                <a:stretch>
                  <a:fillRect/>
                </a:stretch>
              </p:blipFill>
              <p:spPr>
                <a:xfrm>
                  <a:off x="1885713" y="4741242"/>
                  <a:ext cx="61560" cy="17172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15" name="Рукописный ввод 14">
                  <a:extLst>
                    <a:ext uri="{FF2B5EF4-FFF2-40B4-BE49-F238E27FC236}">
                      <a16:creationId xmlns:a16="http://schemas.microsoft.com/office/drawing/2014/main" id="{2B90CBD6-E495-4746-9ECA-70AE0E9F970B}"/>
                    </a:ext>
                  </a:extLst>
                </p14:cNvPr>
                <p14:cNvContentPartPr/>
                <p14:nvPr/>
              </p14:nvContentPartPr>
              <p14:xfrm>
                <a:off x="1840713" y="4850682"/>
                <a:ext cx="80280" cy="1800"/>
              </p14:xfrm>
            </p:contentPart>
          </mc:Choice>
          <mc:Fallback>
            <p:pic>
              <p:nvPicPr>
                <p:cNvPr id="15" name="Рукописный ввод 14">
                  <a:extLst>
                    <a:ext uri="{FF2B5EF4-FFF2-40B4-BE49-F238E27FC236}">
                      <a16:creationId xmlns:a16="http://schemas.microsoft.com/office/drawing/2014/main" id="{2B90CBD6-E495-4746-9ECA-70AE0E9F970B}"/>
                    </a:ext>
                  </a:extLst>
                </p:cNvPr>
                <p:cNvPicPr/>
                <p:nvPr/>
              </p:nvPicPr>
              <p:blipFill>
                <a:blip r:embed="rId51"/>
                <a:stretch>
                  <a:fillRect/>
                </a:stretch>
              </p:blipFill>
              <p:spPr>
                <a:xfrm>
                  <a:off x="1831713" y="4841682"/>
                  <a:ext cx="97920" cy="1944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16" name="Рукописный ввод 15">
                  <a:extLst>
                    <a:ext uri="{FF2B5EF4-FFF2-40B4-BE49-F238E27FC236}">
                      <a16:creationId xmlns:a16="http://schemas.microsoft.com/office/drawing/2014/main" id="{F50A5047-B5BD-4E92-9543-8403B82CDFF2}"/>
                    </a:ext>
                  </a:extLst>
                </p14:cNvPr>
                <p14:cNvContentPartPr/>
                <p14:nvPr/>
              </p14:nvContentPartPr>
              <p14:xfrm>
                <a:off x="1973193" y="4843842"/>
                <a:ext cx="21240" cy="65520"/>
              </p14:xfrm>
            </p:contentPart>
          </mc:Choice>
          <mc:Fallback>
            <p:pic>
              <p:nvPicPr>
                <p:cNvPr id="16" name="Рукописный ввод 15">
                  <a:extLst>
                    <a:ext uri="{FF2B5EF4-FFF2-40B4-BE49-F238E27FC236}">
                      <a16:creationId xmlns:a16="http://schemas.microsoft.com/office/drawing/2014/main" id="{F50A5047-B5BD-4E92-9543-8403B82CDFF2}"/>
                    </a:ext>
                  </a:extLst>
                </p:cNvPr>
                <p:cNvPicPr/>
                <p:nvPr/>
              </p:nvPicPr>
              <p:blipFill>
                <a:blip r:embed="rId53"/>
                <a:stretch>
                  <a:fillRect/>
                </a:stretch>
              </p:blipFill>
              <p:spPr>
                <a:xfrm>
                  <a:off x="1964553" y="4835202"/>
                  <a:ext cx="388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17" name="Рукописный ввод 16">
                  <a:extLst>
                    <a:ext uri="{FF2B5EF4-FFF2-40B4-BE49-F238E27FC236}">
                      <a16:creationId xmlns:a16="http://schemas.microsoft.com/office/drawing/2014/main" id="{BEE5C7E6-BECC-4794-870C-6EFF7DCD5744}"/>
                    </a:ext>
                  </a:extLst>
                </p14:cNvPr>
                <p14:cNvContentPartPr/>
                <p14:nvPr/>
              </p14:nvContentPartPr>
              <p14:xfrm>
                <a:off x="1965993" y="4809642"/>
                <a:ext cx="7560" cy="34560"/>
              </p14:xfrm>
            </p:contentPart>
          </mc:Choice>
          <mc:Fallback>
            <p:pic>
              <p:nvPicPr>
                <p:cNvPr id="17" name="Рукописный ввод 16">
                  <a:extLst>
                    <a:ext uri="{FF2B5EF4-FFF2-40B4-BE49-F238E27FC236}">
                      <a16:creationId xmlns:a16="http://schemas.microsoft.com/office/drawing/2014/main" id="{BEE5C7E6-BECC-4794-870C-6EFF7DCD5744}"/>
                    </a:ext>
                  </a:extLst>
                </p:cNvPr>
                <p:cNvPicPr/>
                <p:nvPr/>
              </p:nvPicPr>
              <p:blipFill>
                <a:blip r:embed="rId55"/>
                <a:stretch>
                  <a:fillRect/>
                </a:stretch>
              </p:blipFill>
              <p:spPr>
                <a:xfrm>
                  <a:off x="1957353" y="4800642"/>
                  <a:ext cx="25200" cy="5220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18" name="Рукописный ввод 17">
                  <a:extLst>
                    <a:ext uri="{FF2B5EF4-FFF2-40B4-BE49-F238E27FC236}">
                      <a16:creationId xmlns:a16="http://schemas.microsoft.com/office/drawing/2014/main" id="{A2C9BDB0-8E40-4736-A0C7-CE84F94A52C3}"/>
                    </a:ext>
                  </a:extLst>
                </p14:cNvPr>
                <p14:cNvContentPartPr/>
                <p14:nvPr/>
              </p14:nvContentPartPr>
              <p14:xfrm>
                <a:off x="2026833" y="4745562"/>
                <a:ext cx="48960" cy="153720"/>
              </p14:xfrm>
            </p:contentPart>
          </mc:Choice>
          <mc:Fallback>
            <p:pic>
              <p:nvPicPr>
                <p:cNvPr id="18" name="Рукописный ввод 17">
                  <a:extLst>
                    <a:ext uri="{FF2B5EF4-FFF2-40B4-BE49-F238E27FC236}">
                      <a16:creationId xmlns:a16="http://schemas.microsoft.com/office/drawing/2014/main" id="{A2C9BDB0-8E40-4736-A0C7-CE84F94A52C3}"/>
                    </a:ext>
                  </a:extLst>
                </p:cNvPr>
                <p:cNvPicPr/>
                <p:nvPr/>
              </p:nvPicPr>
              <p:blipFill>
                <a:blip r:embed="rId57"/>
                <a:stretch>
                  <a:fillRect/>
                </a:stretch>
              </p:blipFill>
              <p:spPr>
                <a:xfrm>
                  <a:off x="2018193" y="4736562"/>
                  <a:ext cx="66600" cy="171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19" name="Рукописный ввод 18">
                  <a:extLst>
                    <a:ext uri="{FF2B5EF4-FFF2-40B4-BE49-F238E27FC236}">
                      <a16:creationId xmlns:a16="http://schemas.microsoft.com/office/drawing/2014/main" id="{1D5F5451-8D38-4157-B056-CF5AD751A98F}"/>
                    </a:ext>
                  </a:extLst>
                </p14:cNvPr>
                <p14:cNvContentPartPr/>
                <p14:nvPr/>
              </p14:nvContentPartPr>
              <p14:xfrm>
                <a:off x="1986153" y="4835922"/>
                <a:ext cx="86040" cy="2520"/>
              </p14:xfrm>
            </p:contentPart>
          </mc:Choice>
          <mc:Fallback>
            <p:pic>
              <p:nvPicPr>
                <p:cNvPr id="19" name="Рукописный ввод 18">
                  <a:extLst>
                    <a:ext uri="{FF2B5EF4-FFF2-40B4-BE49-F238E27FC236}">
                      <a16:creationId xmlns:a16="http://schemas.microsoft.com/office/drawing/2014/main" id="{1D5F5451-8D38-4157-B056-CF5AD751A98F}"/>
                    </a:ext>
                  </a:extLst>
                </p:cNvPr>
                <p:cNvPicPr/>
                <p:nvPr/>
              </p:nvPicPr>
              <p:blipFill>
                <a:blip r:embed="rId59"/>
                <a:stretch>
                  <a:fillRect/>
                </a:stretch>
              </p:blipFill>
              <p:spPr>
                <a:xfrm>
                  <a:off x="1977513" y="4827282"/>
                  <a:ext cx="1036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20" name="Рукописный ввод 19">
                  <a:extLst>
                    <a:ext uri="{FF2B5EF4-FFF2-40B4-BE49-F238E27FC236}">
                      <a16:creationId xmlns:a16="http://schemas.microsoft.com/office/drawing/2014/main" id="{9ABDD4EF-EC85-4CE1-B186-BE3258B04B7F}"/>
                    </a:ext>
                  </a:extLst>
                </p14:cNvPr>
                <p14:cNvContentPartPr/>
                <p14:nvPr/>
              </p14:nvContentPartPr>
              <p14:xfrm>
                <a:off x="2115393" y="4836642"/>
                <a:ext cx="32400" cy="61560"/>
              </p14:xfrm>
            </p:contentPart>
          </mc:Choice>
          <mc:Fallback>
            <p:pic>
              <p:nvPicPr>
                <p:cNvPr id="20" name="Рукописный ввод 19">
                  <a:extLst>
                    <a:ext uri="{FF2B5EF4-FFF2-40B4-BE49-F238E27FC236}">
                      <a16:creationId xmlns:a16="http://schemas.microsoft.com/office/drawing/2014/main" id="{9ABDD4EF-EC85-4CE1-B186-BE3258B04B7F}"/>
                    </a:ext>
                  </a:extLst>
                </p:cNvPr>
                <p:cNvPicPr/>
                <p:nvPr/>
              </p:nvPicPr>
              <p:blipFill>
                <a:blip r:embed="rId61"/>
                <a:stretch>
                  <a:fillRect/>
                </a:stretch>
              </p:blipFill>
              <p:spPr>
                <a:xfrm>
                  <a:off x="2106753" y="4828002"/>
                  <a:ext cx="50040" cy="7920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21" name="Рукописный ввод 20">
                  <a:extLst>
                    <a:ext uri="{FF2B5EF4-FFF2-40B4-BE49-F238E27FC236}">
                      <a16:creationId xmlns:a16="http://schemas.microsoft.com/office/drawing/2014/main" id="{6C342B29-4E6F-4007-994B-C2D74450ADA4}"/>
                    </a:ext>
                  </a:extLst>
                </p14:cNvPr>
                <p14:cNvContentPartPr/>
                <p14:nvPr/>
              </p14:nvContentPartPr>
              <p14:xfrm>
                <a:off x="2111073" y="4793082"/>
                <a:ext cx="19800" cy="43920"/>
              </p14:xfrm>
            </p:contentPart>
          </mc:Choice>
          <mc:Fallback>
            <p:pic>
              <p:nvPicPr>
                <p:cNvPr id="21" name="Рукописный ввод 20">
                  <a:extLst>
                    <a:ext uri="{FF2B5EF4-FFF2-40B4-BE49-F238E27FC236}">
                      <a16:creationId xmlns:a16="http://schemas.microsoft.com/office/drawing/2014/main" id="{6C342B29-4E6F-4007-994B-C2D74450ADA4}"/>
                    </a:ext>
                  </a:extLst>
                </p:cNvPr>
                <p:cNvPicPr/>
                <p:nvPr/>
              </p:nvPicPr>
              <p:blipFill>
                <a:blip r:embed="rId63"/>
                <a:stretch>
                  <a:fillRect/>
                </a:stretch>
              </p:blipFill>
              <p:spPr>
                <a:xfrm>
                  <a:off x="2102073" y="4784082"/>
                  <a:ext cx="37440" cy="615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22" name="Рукописный ввод 21">
                  <a:extLst>
                    <a:ext uri="{FF2B5EF4-FFF2-40B4-BE49-F238E27FC236}">
                      <a16:creationId xmlns:a16="http://schemas.microsoft.com/office/drawing/2014/main" id="{D927CB5E-95B5-49E7-9952-60548DA99AEB}"/>
                    </a:ext>
                  </a:extLst>
                </p14:cNvPr>
                <p14:cNvContentPartPr/>
                <p14:nvPr/>
              </p14:nvContentPartPr>
              <p14:xfrm>
                <a:off x="2176953" y="4843842"/>
                <a:ext cx="74160" cy="55440"/>
              </p14:xfrm>
            </p:contentPart>
          </mc:Choice>
          <mc:Fallback>
            <p:pic>
              <p:nvPicPr>
                <p:cNvPr id="22" name="Рукописный ввод 21">
                  <a:extLst>
                    <a:ext uri="{FF2B5EF4-FFF2-40B4-BE49-F238E27FC236}">
                      <a16:creationId xmlns:a16="http://schemas.microsoft.com/office/drawing/2014/main" id="{D927CB5E-95B5-49E7-9952-60548DA99AEB}"/>
                    </a:ext>
                  </a:extLst>
                </p:cNvPr>
                <p:cNvPicPr/>
                <p:nvPr/>
              </p:nvPicPr>
              <p:blipFill>
                <a:blip r:embed="rId65"/>
                <a:stretch>
                  <a:fillRect/>
                </a:stretch>
              </p:blipFill>
              <p:spPr>
                <a:xfrm>
                  <a:off x="2168313" y="4834842"/>
                  <a:ext cx="91800" cy="7308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23" name="Рукописный ввод 22">
                  <a:extLst>
                    <a:ext uri="{FF2B5EF4-FFF2-40B4-BE49-F238E27FC236}">
                      <a16:creationId xmlns:a16="http://schemas.microsoft.com/office/drawing/2014/main" id="{31E3D7D1-E47B-44D6-808F-30A1C08E564C}"/>
                    </a:ext>
                  </a:extLst>
                </p14:cNvPr>
                <p14:cNvContentPartPr/>
                <p14:nvPr/>
              </p14:nvContentPartPr>
              <p14:xfrm>
                <a:off x="2308353" y="4837002"/>
                <a:ext cx="115200" cy="90720"/>
              </p14:xfrm>
            </p:contentPart>
          </mc:Choice>
          <mc:Fallback>
            <p:pic>
              <p:nvPicPr>
                <p:cNvPr id="23" name="Рукописный ввод 22">
                  <a:extLst>
                    <a:ext uri="{FF2B5EF4-FFF2-40B4-BE49-F238E27FC236}">
                      <a16:creationId xmlns:a16="http://schemas.microsoft.com/office/drawing/2014/main" id="{31E3D7D1-E47B-44D6-808F-30A1C08E564C}"/>
                    </a:ext>
                  </a:extLst>
                </p:cNvPr>
                <p:cNvPicPr/>
                <p:nvPr/>
              </p:nvPicPr>
              <p:blipFill>
                <a:blip r:embed="rId67"/>
                <a:stretch>
                  <a:fillRect/>
                </a:stretch>
              </p:blipFill>
              <p:spPr>
                <a:xfrm>
                  <a:off x="2299353" y="4828002"/>
                  <a:ext cx="132840" cy="108360"/>
                </a:xfrm>
                <a:prstGeom prst="rect">
                  <a:avLst/>
                </a:prstGeom>
              </p:spPr>
            </p:pic>
          </mc:Fallback>
        </mc:AlternateContent>
      </p:grpSp>
    </p:spTree>
    <p:extLst>
      <p:ext uri="{BB962C8B-B14F-4D97-AF65-F5344CB8AC3E}">
        <p14:creationId xmlns:p14="http://schemas.microsoft.com/office/powerpoint/2010/main" val="36259735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mc:Choice xmlns:p14="http://schemas.microsoft.com/office/powerpoint/2010/main" Requires="p14">
          <p:contentPart p14:bwMode="auto" r:id="rId4">
            <p14:nvContentPartPr>
              <p14:cNvPr id="2" name="Рукописный ввод 1">
                <a:extLst>
                  <a:ext uri="{FF2B5EF4-FFF2-40B4-BE49-F238E27FC236}">
                    <a16:creationId xmlns:a16="http://schemas.microsoft.com/office/drawing/2014/main" id="{0B8BFAC1-2D49-4CCC-AD87-33AB5E45B422}"/>
                  </a:ext>
                </a:extLst>
              </p14:cNvPr>
              <p14:cNvContentPartPr/>
              <p14:nvPr/>
            </p14:nvContentPartPr>
            <p14:xfrm>
              <a:off x="3431913" y="4546122"/>
              <a:ext cx="3240" cy="239400"/>
            </p14:xfrm>
          </p:contentPart>
        </mc:Choice>
        <mc:Fallback>
          <p:pic>
            <p:nvPicPr>
              <p:cNvPr id="2" name="Рукописный ввод 1">
                <a:extLst>
                  <a:ext uri="{FF2B5EF4-FFF2-40B4-BE49-F238E27FC236}">
                    <a16:creationId xmlns:a16="http://schemas.microsoft.com/office/drawing/2014/main" id="{0B8BFAC1-2D49-4CCC-AD87-33AB5E45B422}"/>
                  </a:ext>
                </a:extLst>
              </p:cNvPr>
              <p:cNvPicPr/>
              <p:nvPr/>
            </p:nvPicPr>
            <p:blipFill>
              <a:blip r:embed="rId5"/>
              <a:stretch>
                <a:fillRect/>
              </a:stretch>
            </p:blipFill>
            <p:spPr>
              <a:xfrm>
                <a:off x="3423273" y="4537482"/>
                <a:ext cx="20880" cy="25704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3" name="Рукописный ввод 2">
                <a:extLst>
                  <a:ext uri="{FF2B5EF4-FFF2-40B4-BE49-F238E27FC236}">
                    <a16:creationId xmlns:a16="http://schemas.microsoft.com/office/drawing/2014/main" id="{EC8CAF15-8D89-4EB4-9653-40372735B24C}"/>
                  </a:ext>
                </a:extLst>
              </p14:cNvPr>
              <p14:cNvContentPartPr/>
              <p14:nvPr/>
            </p14:nvContentPartPr>
            <p14:xfrm>
              <a:off x="3434073" y="4887402"/>
              <a:ext cx="6120" cy="142920"/>
            </p14:xfrm>
          </p:contentPart>
        </mc:Choice>
        <mc:Fallback>
          <p:pic>
            <p:nvPicPr>
              <p:cNvPr id="3" name="Рукописный ввод 2">
                <a:extLst>
                  <a:ext uri="{FF2B5EF4-FFF2-40B4-BE49-F238E27FC236}">
                    <a16:creationId xmlns:a16="http://schemas.microsoft.com/office/drawing/2014/main" id="{EC8CAF15-8D89-4EB4-9653-40372735B24C}"/>
                  </a:ext>
                </a:extLst>
              </p:cNvPr>
              <p:cNvPicPr/>
              <p:nvPr/>
            </p:nvPicPr>
            <p:blipFill>
              <a:blip r:embed="rId7"/>
              <a:stretch>
                <a:fillRect/>
              </a:stretch>
            </p:blipFill>
            <p:spPr>
              <a:xfrm>
                <a:off x="3425433" y="4878762"/>
                <a:ext cx="23760" cy="16056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4" name="Рукописный ввод 3">
                <a:extLst>
                  <a:ext uri="{FF2B5EF4-FFF2-40B4-BE49-F238E27FC236}">
                    <a16:creationId xmlns:a16="http://schemas.microsoft.com/office/drawing/2014/main" id="{A98DB196-3C14-4055-A29B-76AFC02C7991}"/>
                  </a:ext>
                </a:extLst>
              </p14:cNvPr>
              <p14:cNvContentPartPr/>
              <p14:nvPr/>
            </p14:nvContentPartPr>
            <p14:xfrm>
              <a:off x="3448833" y="4517682"/>
              <a:ext cx="314640" cy="10800"/>
            </p14:xfrm>
          </p:contentPart>
        </mc:Choice>
        <mc:Fallback>
          <p:pic>
            <p:nvPicPr>
              <p:cNvPr id="4" name="Рукописный ввод 3">
                <a:extLst>
                  <a:ext uri="{FF2B5EF4-FFF2-40B4-BE49-F238E27FC236}">
                    <a16:creationId xmlns:a16="http://schemas.microsoft.com/office/drawing/2014/main" id="{A98DB196-3C14-4055-A29B-76AFC02C7991}"/>
                  </a:ext>
                </a:extLst>
              </p:cNvPr>
              <p:cNvPicPr/>
              <p:nvPr/>
            </p:nvPicPr>
            <p:blipFill>
              <a:blip r:embed="rId9"/>
              <a:stretch>
                <a:fillRect/>
              </a:stretch>
            </p:blipFill>
            <p:spPr>
              <a:xfrm>
                <a:off x="3440193" y="4509042"/>
                <a:ext cx="33228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5" name="Рукописный ввод 4">
                <a:extLst>
                  <a:ext uri="{FF2B5EF4-FFF2-40B4-BE49-F238E27FC236}">
                    <a16:creationId xmlns:a16="http://schemas.microsoft.com/office/drawing/2014/main" id="{F6AD0A02-5895-4F39-B94D-8062613C1FE9}"/>
                  </a:ext>
                </a:extLst>
              </p14:cNvPr>
              <p14:cNvContentPartPr/>
              <p14:nvPr/>
            </p14:nvContentPartPr>
            <p14:xfrm>
              <a:off x="3939873" y="4483482"/>
              <a:ext cx="439920" cy="10800"/>
            </p14:xfrm>
          </p:contentPart>
        </mc:Choice>
        <mc:Fallback>
          <p:pic>
            <p:nvPicPr>
              <p:cNvPr id="5" name="Рукописный ввод 4">
                <a:extLst>
                  <a:ext uri="{FF2B5EF4-FFF2-40B4-BE49-F238E27FC236}">
                    <a16:creationId xmlns:a16="http://schemas.microsoft.com/office/drawing/2014/main" id="{F6AD0A02-5895-4F39-B94D-8062613C1FE9}"/>
                  </a:ext>
                </a:extLst>
              </p:cNvPr>
              <p:cNvPicPr/>
              <p:nvPr/>
            </p:nvPicPr>
            <p:blipFill>
              <a:blip r:embed="rId11"/>
              <a:stretch>
                <a:fillRect/>
              </a:stretch>
            </p:blipFill>
            <p:spPr>
              <a:xfrm>
                <a:off x="3931233" y="4474482"/>
                <a:ext cx="457560" cy="2844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7" name="Рукописный ввод 6">
                <a:extLst>
                  <a:ext uri="{FF2B5EF4-FFF2-40B4-BE49-F238E27FC236}">
                    <a16:creationId xmlns:a16="http://schemas.microsoft.com/office/drawing/2014/main" id="{2C941B8B-9216-451C-84F6-08D20E7E9A22}"/>
                  </a:ext>
                </a:extLst>
              </p14:cNvPr>
              <p14:cNvContentPartPr/>
              <p14:nvPr/>
            </p14:nvContentPartPr>
            <p14:xfrm>
              <a:off x="4565913" y="4452522"/>
              <a:ext cx="414360" cy="12600"/>
            </p14:xfrm>
          </p:contentPart>
        </mc:Choice>
        <mc:Fallback>
          <p:pic>
            <p:nvPicPr>
              <p:cNvPr id="7" name="Рукописный ввод 6">
                <a:extLst>
                  <a:ext uri="{FF2B5EF4-FFF2-40B4-BE49-F238E27FC236}">
                    <a16:creationId xmlns:a16="http://schemas.microsoft.com/office/drawing/2014/main" id="{2C941B8B-9216-451C-84F6-08D20E7E9A22}"/>
                  </a:ext>
                </a:extLst>
              </p:cNvPr>
              <p:cNvPicPr/>
              <p:nvPr/>
            </p:nvPicPr>
            <p:blipFill>
              <a:blip r:embed="rId13"/>
              <a:stretch>
                <a:fillRect/>
              </a:stretch>
            </p:blipFill>
            <p:spPr>
              <a:xfrm>
                <a:off x="4556913" y="4443522"/>
                <a:ext cx="432000" cy="302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8" name="Рукописный ввод 7">
                <a:extLst>
                  <a:ext uri="{FF2B5EF4-FFF2-40B4-BE49-F238E27FC236}">
                    <a16:creationId xmlns:a16="http://schemas.microsoft.com/office/drawing/2014/main" id="{7840F3C2-4257-434B-AAB1-00D4254514AB}"/>
                  </a:ext>
                </a:extLst>
              </p14:cNvPr>
              <p14:cNvContentPartPr/>
              <p14:nvPr/>
            </p14:nvContentPartPr>
            <p14:xfrm>
              <a:off x="5189433" y="4433802"/>
              <a:ext cx="432720" cy="3600"/>
            </p14:xfrm>
          </p:contentPart>
        </mc:Choice>
        <mc:Fallback>
          <p:pic>
            <p:nvPicPr>
              <p:cNvPr id="8" name="Рукописный ввод 7">
                <a:extLst>
                  <a:ext uri="{FF2B5EF4-FFF2-40B4-BE49-F238E27FC236}">
                    <a16:creationId xmlns:a16="http://schemas.microsoft.com/office/drawing/2014/main" id="{7840F3C2-4257-434B-AAB1-00D4254514AB}"/>
                  </a:ext>
                </a:extLst>
              </p:cNvPr>
              <p:cNvPicPr/>
              <p:nvPr/>
            </p:nvPicPr>
            <p:blipFill>
              <a:blip r:embed="rId15"/>
              <a:stretch>
                <a:fillRect/>
              </a:stretch>
            </p:blipFill>
            <p:spPr>
              <a:xfrm>
                <a:off x="5180433" y="4425162"/>
                <a:ext cx="450360"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9" name="Рукописный ввод 8">
                <a:extLst>
                  <a:ext uri="{FF2B5EF4-FFF2-40B4-BE49-F238E27FC236}">
                    <a16:creationId xmlns:a16="http://schemas.microsoft.com/office/drawing/2014/main" id="{2D4BA2F8-EA24-4EA6-AA27-F96DAFE9D6AF}"/>
                  </a:ext>
                </a:extLst>
              </p14:cNvPr>
              <p14:cNvContentPartPr/>
              <p14:nvPr/>
            </p14:nvContentPartPr>
            <p14:xfrm>
              <a:off x="5842113" y="4407882"/>
              <a:ext cx="416880" cy="21240"/>
            </p14:xfrm>
          </p:contentPart>
        </mc:Choice>
        <mc:Fallback>
          <p:pic>
            <p:nvPicPr>
              <p:cNvPr id="9" name="Рукописный ввод 8">
                <a:extLst>
                  <a:ext uri="{FF2B5EF4-FFF2-40B4-BE49-F238E27FC236}">
                    <a16:creationId xmlns:a16="http://schemas.microsoft.com/office/drawing/2014/main" id="{2D4BA2F8-EA24-4EA6-AA27-F96DAFE9D6AF}"/>
                  </a:ext>
                </a:extLst>
              </p:cNvPr>
              <p:cNvPicPr/>
              <p:nvPr/>
            </p:nvPicPr>
            <p:blipFill>
              <a:blip r:embed="rId17"/>
              <a:stretch>
                <a:fillRect/>
              </a:stretch>
            </p:blipFill>
            <p:spPr>
              <a:xfrm>
                <a:off x="5833113" y="4398882"/>
                <a:ext cx="43452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 name="Рукописный ввод 9">
                <a:extLst>
                  <a:ext uri="{FF2B5EF4-FFF2-40B4-BE49-F238E27FC236}">
                    <a16:creationId xmlns:a16="http://schemas.microsoft.com/office/drawing/2014/main" id="{5C49882D-C9D1-43B6-89F3-135232569F51}"/>
                  </a:ext>
                </a:extLst>
              </p14:cNvPr>
              <p14:cNvContentPartPr/>
              <p14:nvPr/>
            </p14:nvContentPartPr>
            <p14:xfrm>
              <a:off x="6398313" y="4385922"/>
              <a:ext cx="394920" cy="19440"/>
            </p14:xfrm>
          </p:contentPart>
        </mc:Choice>
        <mc:Fallback>
          <p:pic>
            <p:nvPicPr>
              <p:cNvPr id="10" name="Рукописный ввод 9">
                <a:extLst>
                  <a:ext uri="{FF2B5EF4-FFF2-40B4-BE49-F238E27FC236}">
                    <a16:creationId xmlns:a16="http://schemas.microsoft.com/office/drawing/2014/main" id="{5C49882D-C9D1-43B6-89F3-135232569F51}"/>
                  </a:ext>
                </a:extLst>
              </p:cNvPr>
              <p:cNvPicPr/>
              <p:nvPr/>
            </p:nvPicPr>
            <p:blipFill>
              <a:blip r:embed="rId19"/>
              <a:stretch>
                <a:fillRect/>
              </a:stretch>
            </p:blipFill>
            <p:spPr>
              <a:xfrm>
                <a:off x="6389673" y="4376922"/>
                <a:ext cx="41256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1" name="Рукописный ввод 10">
                <a:extLst>
                  <a:ext uri="{FF2B5EF4-FFF2-40B4-BE49-F238E27FC236}">
                    <a16:creationId xmlns:a16="http://schemas.microsoft.com/office/drawing/2014/main" id="{6806A518-494F-467C-A2EB-04C7F559753C}"/>
                  </a:ext>
                </a:extLst>
              </p14:cNvPr>
              <p14:cNvContentPartPr/>
              <p14:nvPr/>
            </p14:nvContentPartPr>
            <p14:xfrm>
              <a:off x="6792873" y="4427322"/>
              <a:ext cx="57600" cy="241200"/>
            </p14:xfrm>
          </p:contentPart>
        </mc:Choice>
        <mc:Fallback>
          <p:pic>
            <p:nvPicPr>
              <p:cNvPr id="11" name="Рукописный ввод 10">
                <a:extLst>
                  <a:ext uri="{FF2B5EF4-FFF2-40B4-BE49-F238E27FC236}">
                    <a16:creationId xmlns:a16="http://schemas.microsoft.com/office/drawing/2014/main" id="{6806A518-494F-467C-A2EB-04C7F559753C}"/>
                  </a:ext>
                </a:extLst>
              </p:cNvPr>
              <p:cNvPicPr/>
              <p:nvPr/>
            </p:nvPicPr>
            <p:blipFill>
              <a:blip r:embed="rId21"/>
              <a:stretch>
                <a:fillRect/>
              </a:stretch>
            </p:blipFill>
            <p:spPr>
              <a:xfrm>
                <a:off x="6784233" y="4418322"/>
                <a:ext cx="75240" cy="25884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2" name="Рукописный ввод 11">
                <a:extLst>
                  <a:ext uri="{FF2B5EF4-FFF2-40B4-BE49-F238E27FC236}">
                    <a16:creationId xmlns:a16="http://schemas.microsoft.com/office/drawing/2014/main" id="{EBA6EE94-1BB5-4B0A-9B0F-A9C9B85645F6}"/>
                  </a:ext>
                </a:extLst>
              </p14:cNvPr>
              <p14:cNvContentPartPr/>
              <p14:nvPr/>
            </p14:nvContentPartPr>
            <p14:xfrm>
              <a:off x="6719793" y="4763922"/>
              <a:ext cx="37080" cy="183960"/>
            </p14:xfrm>
          </p:contentPart>
        </mc:Choice>
        <mc:Fallback>
          <p:pic>
            <p:nvPicPr>
              <p:cNvPr id="12" name="Рукописный ввод 11">
                <a:extLst>
                  <a:ext uri="{FF2B5EF4-FFF2-40B4-BE49-F238E27FC236}">
                    <a16:creationId xmlns:a16="http://schemas.microsoft.com/office/drawing/2014/main" id="{EBA6EE94-1BB5-4B0A-9B0F-A9C9B85645F6}"/>
                  </a:ext>
                </a:extLst>
              </p:cNvPr>
              <p:cNvPicPr/>
              <p:nvPr/>
            </p:nvPicPr>
            <p:blipFill>
              <a:blip r:embed="rId23"/>
              <a:stretch>
                <a:fillRect/>
              </a:stretch>
            </p:blipFill>
            <p:spPr>
              <a:xfrm>
                <a:off x="6711153" y="4755282"/>
                <a:ext cx="54720" cy="2016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4" name="Рукописный ввод 13">
                <a:extLst>
                  <a:ext uri="{FF2B5EF4-FFF2-40B4-BE49-F238E27FC236}">
                    <a16:creationId xmlns:a16="http://schemas.microsoft.com/office/drawing/2014/main" id="{251F36DC-82B9-47D5-BF31-E7D6DD115EB2}"/>
                  </a:ext>
                </a:extLst>
              </p14:cNvPr>
              <p14:cNvContentPartPr/>
              <p14:nvPr/>
            </p14:nvContentPartPr>
            <p14:xfrm>
              <a:off x="3453873" y="5055882"/>
              <a:ext cx="285480" cy="12240"/>
            </p14:xfrm>
          </p:contentPart>
        </mc:Choice>
        <mc:Fallback>
          <p:pic>
            <p:nvPicPr>
              <p:cNvPr id="14" name="Рукописный ввод 13">
                <a:extLst>
                  <a:ext uri="{FF2B5EF4-FFF2-40B4-BE49-F238E27FC236}">
                    <a16:creationId xmlns:a16="http://schemas.microsoft.com/office/drawing/2014/main" id="{251F36DC-82B9-47D5-BF31-E7D6DD115EB2}"/>
                  </a:ext>
                </a:extLst>
              </p:cNvPr>
              <p:cNvPicPr/>
              <p:nvPr/>
            </p:nvPicPr>
            <p:blipFill>
              <a:blip r:embed="rId25"/>
              <a:stretch>
                <a:fillRect/>
              </a:stretch>
            </p:blipFill>
            <p:spPr>
              <a:xfrm>
                <a:off x="3445233" y="5046882"/>
                <a:ext cx="303120" cy="2988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5" name="Рукописный ввод 14">
                <a:extLst>
                  <a:ext uri="{FF2B5EF4-FFF2-40B4-BE49-F238E27FC236}">
                    <a16:creationId xmlns:a16="http://schemas.microsoft.com/office/drawing/2014/main" id="{15160C60-D5CB-4EF4-94E7-6217A238DAC5}"/>
                  </a:ext>
                </a:extLst>
              </p14:cNvPr>
              <p14:cNvContentPartPr/>
              <p14:nvPr/>
            </p14:nvContentPartPr>
            <p14:xfrm>
              <a:off x="3980193" y="5049402"/>
              <a:ext cx="421560" cy="13680"/>
            </p14:xfrm>
          </p:contentPart>
        </mc:Choice>
        <mc:Fallback>
          <p:pic>
            <p:nvPicPr>
              <p:cNvPr id="15" name="Рукописный ввод 14">
                <a:extLst>
                  <a:ext uri="{FF2B5EF4-FFF2-40B4-BE49-F238E27FC236}">
                    <a16:creationId xmlns:a16="http://schemas.microsoft.com/office/drawing/2014/main" id="{15160C60-D5CB-4EF4-94E7-6217A238DAC5}"/>
                  </a:ext>
                </a:extLst>
              </p:cNvPr>
              <p:cNvPicPr/>
              <p:nvPr/>
            </p:nvPicPr>
            <p:blipFill>
              <a:blip r:embed="rId27"/>
              <a:stretch>
                <a:fillRect/>
              </a:stretch>
            </p:blipFill>
            <p:spPr>
              <a:xfrm>
                <a:off x="3971193" y="5040402"/>
                <a:ext cx="43920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6" name="Рукописный ввод 15">
                <a:extLst>
                  <a:ext uri="{FF2B5EF4-FFF2-40B4-BE49-F238E27FC236}">
                    <a16:creationId xmlns:a16="http://schemas.microsoft.com/office/drawing/2014/main" id="{8829C6A7-B796-4BA7-9D52-8A49BBCB15FE}"/>
                  </a:ext>
                </a:extLst>
              </p14:cNvPr>
              <p14:cNvContentPartPr/>
              <p14:nvPr/>
            </p14:nvContentPartPr>
            <p14:xfrm>
              <a:off x="4620633" y="5061642"/>
              <a:ext cx="379080" cy="28080"/>
            </p14:xfrm>
          </p:contentPart>
        </mc:Choice>
        <mc:Fallback>
          <p:pic>
            <p:nvPicPr>
              <p:cNvPr id="16" name="Рукописный ввод 15">
                <a:extLst>
                  <a:ext uri="{FF2B5EF4-FFF2-40B4-BE49-F238E27FC236}">
                    <a16:creationId xmlns:a16="http://schemas.microsoft.com/office/drawing/2014/main" id="{8829C6A7-B796-4BA7-9D52-8A49BBCB15FE}"/>
                  </a:ext>
                </a:extLst>
              </p:cNvPr>
              <p:cNvPicPr/>
              <p:nvPr/>
            </p:nvPicPr>
            <p:blipFill>
              <a:blip r:embed="rId29"/>
              <a:stretch>
                <a:fillRect/>
              </a:stretch>
            </p:blipFill>
            <p:spPr>
              <a:xfrm>
                <a:off x="4611633" y="5053002"/>
                <a:ext cx="396720" cy="457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7" name="Рукописный ввод 16">
                <a:extLst>
                  <a:ext uri="{FF2B5EF4-FFF2-40B4-BE49-F238E27FC236}">
                    <a16:creationId xmlns:a16="http://schemas.microsoft.com/office/drawing/2014/main" id="{A8C61D9B-E2A3-403C-A102-99A9851132E9}"/>
                  </a:ext>
                </a:extLst>
              </p14:cNvPr>
              <p14:cNvContentPartPr/>
              <p14:nvPr/>
            </p14:nvContentPartPr>
            <p14:xfrm>
              <a:off x="5311113" y="5080362"/>
              <a:ext cx="437400" cy="14040"/>
            </p14:xfrm>
          </p:contentPart>
        </mc:Choice>
        <mc:Fallback>
          <p:pic>
            <p:nvPicPr>
              <p:cNvPr id="17" name="Рукописный ввод 16">
                <a:extLst>
                  <a:ext uri="{FF2B5EF4-FFF2-40B4-BE49-F238E27FC236}">
                    <a16:creationId xmlns:a16="http://schemas.microsoft.com/office/drawing/2014/main" id="{A8C61D9B-E2A3-403C-A102-99A9851132E9}"/>
                  </a:ext>
                </a:extLst>
              </p:cNvPr>
              <p:cNvPicPr/>
              <p:nvPr/>
            </p:nvPicPr>
            <p:blipFill>
              <a:blip r:embed="rId31"/>
              <a:stretch>
                <a:fillRect/>
              </a:stretch>
            </p:blipFill>
            <p:spPr>
              <a:xfrm>
                <a:off x="5302113" y="5071722"/>
                <a:ext cx="455040" cy="31680"/>
              </a:xfrm>
              <a:prstGeom prst="rect">
                <a:avLst/>
              </a:prstGeom>
            </p:spPr>
          </p:pic>
        </mc:Fallback>
      </mc:AlternateContent>
      <p:grpSp>
        <p:nvGrpSpPr>
          <p:cNvPr id="22" name="Группа 21">
            <a:extLst>
              <a:ext uri="{FF2B5EF4-FFF2-40B4-BE49-F238E27FC236}">
                <a16:creationId xmlns:a16="http://schemas.microsoft.com/office/drawing/2014/main" id="{D71D3A6A-A064-418A-AD7C-B7AC08F109BB}"/>
              </a:ext>
            </a:extLst>
          </p:cNvPr>
          <p:cNvGrpSpPr/>
          <p:nvPr/>
        </p:nvGrpSpPr>
        <p:grpSpPr>
          <a:xfrm>
            <a:off x="6054873" y="4933842"/>
            <a:ext cx="712800" cy="144360"/>
            <a:chOff x="6054873" y="4933842"/>
            <a:chExt cx="712800" cy="144360"/>
          </a:xfrm>
        </p:grpSpPr>
        <mc:AlternateContent xmlns:mc="http://schemas.openxmlformats.org/markup-compatibility/2006">
          <mc:Choice xmlns:p14="http://schemas.microsoft.com/office/powerpoint/2010/main" Requires="p14">
            <p:contentPart p14:bwMode="auto" r:id="rId32">
              <p14:nvContentPartPr>
                <p14:cNvPr id="18" name="Рукописный ввод 17">
                  <a:extLst>
                    <a:ext uri="{FF2B5EF4-FFF2-40B4-BE49-F238E27FC236}">
                      <a16:creationId xmlns:a16="http://schemas.microsoft.com/office/drawing/2014/main" id="{14FC821C-5FD6-426A-AE14-3F3B656AEBB0}"/>
                    </a:ext>
                  </a:extLst>
                </p14:cNvPr>
                <p14:cNvContentPartPr/>
                <p14:nvPr/>
              </p14:nvContentPartPr>
              <p14:xfrm>
                <a:off x="6054873" y="5046882"/>
                <a:ext cx="424080" cy="31320"/>
              </p14:xfrm>
            </p:contentPart>
          </mc:Choice>
          <mc:Fallback>
            <p:pic>
              <p:nvPicPr>
                <p:cNvPr id="18" name="Рукописный ввод 17">
                  <a:extLst>
                    <a:ext uri="{FF2B5EF4-FFF2-40B4-BE49-F238E27FC236}">
                      <a16:creationId xmlns:a16="http://schemas.microsoft.com/office/drawing/2014/main" id="{14FC821C-5FD6-426A-AE14-3F3B656AEBB0}"/>
                    </a:ext>
                  </a:extLst>
                </p:cNvPr>
                <p:cNvPicPr/>
                <p:nvPr/>
              </p:nvPicPr>
              <p:blipFill>
                <a:blip r:embed="rId33"/>
                <a:stretch>
                  <a:fillRect/>
                </a:stretch>
              </p:blipFill>
              <p:spPr>
                <a:xfrm>
                  <a:off x="6046233" y="5037882"/>
                  <a:ext cx="441720" cy="4896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9" name="Рукописный ввод 18">
                  <a:extLst>
                    <a:ext uri="{FF2B5EF4-FFF2-40B4-BE49-F238E27FC236}">
                      <a16:creationId xmlns:a16="http://schemas.microsoft.com/office/drawing/2014/main" id="{41F0FB5C-9989-4917-AFD0-0184B3916A1B}"/>
                    </a:ext>
                  </a:extLst>
                </p14:cNvPr>
                <p14:cNvContentPartPr/>
                <p14:nvPr/>
              </p14:nvContentPartPr>
              <p14:xfrm>
                <a:off x="6621153" y="5033922"/>
                <a:ext cx="146520" cy="8640"/>
              </p14:xfrm>
            </p:contentPart>
          </mc:Choice>
          <mc:Fallback>
            <p:pic>
              <p:nvPicPr>
                <p:cNvPr id="19" name="Рукописный ввод 18">
                  <a:extLst>
                    <a:ext uri="{FF2B5EF4-FFF2-40B4-BE49-F238E27FC236}">
                      <a16:creationId xmlns:a16="http://schemas.microsoft.com/office/drawing/2014/main" id="{41F0FB5C-9989-4917-AFD0-0184B3916A1B}"/>
                    </a:ext>
                  </a:extLst>
                </p:cNvPr>
                <p:cNvPicPr/>
                <p:nvPr/>
              </p:nvPicPr>
              <p:blipFill>
                <a:blip r:embed="rId35"/>
                <a:stretch>
                  <a:fillRect/>
                </a:stretch>
              </p:blipFill>
              <p:spPr>
                <a:xfrm>
                  <a:off x="6612513" y="5025282"/>
                  <a:ext cx="164160" cy="2628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1" name="Рукописный ввод 20">
                  <a:extLst>
                    <a:ext uri="{FF2B5EF4-FFF2-40B4-BE49-F238E27FC236}">
                      <a16:creationId xmlns:a16="http://schemas.microsoft.com/office/drawing/2014/main" id="{A01283F2-3C96-4DEB-AA0C-53680F05155B}"/>
                    </a:ext>
                  </a:extLst>
                </p14:cNvPr>
                <p14:cNvContentPartPr/>
                <p14:nvPr/>
              </p14:nvContentPartPr>
              <p14:xfrm>
                <a:off x="6713673" y="4933842"/>
                <a:ext cx="30960" cy="115920"/>
              </p14:xfrm>
            </p:contentPart>
          </mc:Choice>
          <mc:Fallback>
            <p:pic>
              <p:nvPicPr>
                <p:cNvPr id="21" name="Рукописный ввод 20">
                  <a:extLst>
                    <a:ext uri="{FF2B5EF4-FFF2-40B4-BE49-F238E27FC236}">
                      <a16:creationId xmlns:a16="http://schemas.microsoft.com/office/drawing/2014/main" id="{A01283F2-3C96-4DEB-AA0C-53680F05155B}"/>
                    </a:ext>
                  </a:extLst>
                </p:cNvPr>
                <p:cNvPicPr/>
                <p:nvPr/>
              </p:nvPicPr>
              <p:blipFill>
                <a:blip r:embed="rId37"/>
                <a:stretch>
                  <a:fillRect/>
                </a:stretch>
              </p:blipFill>
              <p:spPr>
                <a:xfrm>
                  <a:off x="6705033" y="4924842"/>
                  <a:ext cx="48600" cy="13356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8">
            <p14:nvContentPartPr>
              <p14:cNvPr id="30" name="Рукописный ввод 29">
                <a:extLst>
                  <a:ext uri="{FF2B5EF4-FFF2-40B4-BE49-F238E27FC236}">
                    <a16:creationId xmlns:a16="http://schemas.microsoft.com/office/drawing/2014/main" id="{E957712E-BB6A-430A-9E6F-68C09EBEFF50}"/>
                  </a:ext>
                </a:extLst>
              </p14:cNvPr>
              <p14:cNvContentPartPr/>
              <p14:nvPr/>
            </p14:nvContentPartPr>
            <p14:xfrm>
              <a:off x="6910233" y="4068762"/>
              <a:ext cx="34560" cy="181800"/>
            </p14:xfrm>
          </p:contentPart>
        </mc:Choice>
        <mc:Fallback>
          <p:pic>
            <p:nvPicPr>
              <p:cNvPr id="30" name="Рукописный ввод 29">
                <a:extLst>
                  <a:ext uri="{FF2B5EF4-FFF2-40B4-BE49-F238E27FC236}">
                    <a16:creationId xmlns:a16="http://schemas.microsoft.com/office/drawing/2014/main" id="{E957712E-BB6A-430A-9E6F-68C09EBEFF50}"/>
                  </a:ext>
                </a:extLst>
              </p:cNvPr>
              <p:cNvPicPr/>
              <p:nvPr/>
            </p:nvPicPr>
            <p:blipFill>
              <a:blip r:embed="rId39"/>
              <a:stretch>
                <a:fillRect/>
              </a:stretch>
            </p:blipFill>
            <p:spPr>
              <a:xfrm>
                <a:off x="6901593" y="4059762"/>
                <a:ext cx="52200" cy="19944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33" name="Рукописный ввод 32">
                <a:extLst>
                  <a:ext uri="{FF2B5EF4-FFF2-40B4-BE49-F238E27FC236}">
                    <a16:creationId xmlns:a16="http://schemas.microsoft.com/office/drawing/2014/main" id="{5F89DCF7-944B-4B90-8315-CFBC6428C8BE}"/>
                  </a:ext>
                </a:extLst>
              </p14:cNvPr>
              <p14:cNvContentPartPr/>
              <p14:nvPr/>
            </p14:nvContentPartPr>
            <p14:xfrm>
              <a:off x="6947673" y="4060842"/>
              <a:ext cx="100080" cy="195120"/>
            </p14:xfrm>
          </p:contentPart>
        </mc:Choice>
        <mc:Fallback>
          <p:pic>
            <p:nvPicPr>
              <p:cNvPr id="33" name="Рукописный ввод 32">
                <a:extLst>
                  <a:ext uri="{FF2B5EF4-FFF2-40B4-BE49-F238E27FC236}">
                    <a16:creationId xmlns:a16="http://schemas.microsoft.com/office/drawing/2014/main" id="{5F89DCF7-944B-4B90-8315-CFBC6428C8BE}"/>
                  </a:ext>
                </a:extLst>
              </p:cNvPr>
              <p:cNvPicPr/>
              <p:nvPr/>
            </p:nvPicPr>
            <p:blipFill>
              <a:blip r:embed="rId41"/>
              <a:stretch>
                <a:fillRect/>
              </a:stretch>
            </p:blipFill>
            <p:spPr>
              <a:xfrm>
                <a:off x="6938673" y="4051842"/>
                <a:ext cx="117720" cy="212760"/>
              </a:xfrm>
              <a:prstGeom prst="rect">
                <a:avLst/>
              </a:prstGeom>
            </p:spPr>
          </p:pic>
        </mc:Fallback>
      </mc:AlternateContent>
      <p:grpSp>
        <p:nvGrpSpPr>
          <p:cNvPr id="41" name="Группа 40">
            <a:extLst>
              <a:ext uri="{FF2B5EF4-FFF2-40B4-BE49-F238E27FC236}">
                <a16:creationId xmlns:a16="http://schemas.microsoft.com/office/drawing/2014/main" id="{9BCE3632-AE0C-4D43-AC13-BF4F89D53BA1}"/>
              </a:ext>
            </a:extLst>
          </p:cNvPr>
          <p:cNvGrpSpPr/>
          <p:nvPr/>
        </p:nvGrpSpPr>
        <p:grpSpPr>
          <a:xfrm>
            <a:off x="6655713" y="4072722"/>
            <a:ext cx="523800" cy="173880"/>
            <a:chOff x="6655713" y="4072722"/>
            <a:chExt cx="523800" cy="173880"/>
          </a:xfrm>
        </p:grpSpPr>
        <mc:AlternateContent xmlns:mc="http://schemas.openxmlformats.org/markup-compatibility/2006">
          <mc:Choice xmlns:p14="http://schemas.microsoft.com/office/powerpoint/2010/main" Requires="p14">
            <p:contentPart p14:bwMode="auto" r:id="rId42">
              <p14:nvContentPartPr>
                <p14:cNvPr id="23" name="Рукописный ввод 22">
                  <a:extLst>
                    <a:ext uri="{FF2B5EF4-FFF2-40B4-BE49-F238E27FC236}">
                      <a16:creationId xmlns:a16="http://schemas.microsoft.com/office/drawing/2014/main" id="{470E3852-EB1F-413A-A807-75D0DCE6BA19}"/>
                    </a:ext>
                  </a:extLst>
                </p14:cNvPr>
                <p14:cNvContentPartPr/>
                <p14:nvPr/>
              </p14:nvContentPartPr>
              <p14:xfrm>
                <a:off x="6655713" y="4092162"/>
                <a:ext cx="205920" cy="153360"/>
              </p14:xfrm>
            </p:contentPart>
          </mc:Choice>
          <mc:Fallback>
            <p:pic>
              <p:nvPicPr>
                <p:cNvPr id="23" name="Рукописный ввод 22">
                  <a:extLst>
                    <a:ext uri="{FF2B5EF4-FFF2-40B4-BE49-F238E27FC236}">
                      <a16:creationId xmlns:a16="http://schemas.microsoft.com/office/drawing/2014/main" id="{470E3852-EB1F-413A-A807-75D0DCE6BA19}"/>
                    </a:ext>
                  </a:extLst>
                </p:cNvPr>
                <p:cNvPicPr/>
                <p:nvPr/>
              </p:nvPicPr>
              <p:blipFill>
                <a:blip r:embed="rId43"/>
                <a:stretch>
                  <a:fillRect/>
                </a:stretch>
              </p:blipFill>
              <p:spPr>
                <a:xfrm>
                  <a:off x="6647073" y="4083162"/>
                  <a:ext cx="223560" cy="17100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4" name="Рукописный ввод 23">
                  <a:extLst>
                    <a:ext uri="{FF2B5EF4-FFF2-40B4-BE49-F238E27FC236}">
                      <a16:creationId xmlns:a16="http://schemas.microsoft.com/office/drawing/2014/main" id="{60775D93-4A6C-4F7C-8147-ABD3DA94159A}"/>
                    </a:ext>
                  </a:extLst>
                </p14:cNvPr>
                <p14:cNvContentPartPr/>
                <p14:nvPr/>
              </p14:nvContentPartPr>
              <p14:xfrm>
                <a:off x="6657873" y="4072722"/>
                <a:ext cx="228960" cy="5400"/>
              </p14:xfrm>
            </p:contentPart>
          </mc:Choice>
          <mc:Fallback>
            <p:pic>
              <p:nvPicPr>
                <p:cNvPr id="24" name="Рукописный ввод 23">
                  <a:extLst>
                    <a:ext uri="{FF2B5EF4-FFF2-40B4-BE49-F238E27FC236}">
                      <a16:creationId xmlns:a16="http://schemas.microsoft.com/office/drawing/2014/main" id="{60775D93-4A6C-4F7C-8147-ABD3DA94159A}"/>
                    </a:ext>
                  </a:extLst>
                </p:cNvPr>
                <p:cNvPicPr/>
                <p:nvPr/>
              </p:nvPicPr>
              <p:blipFill>
                <a:blip r:embed="rId45"/>
                <a:stretch>
                  <a:fillRect/>
                </a:stretch>
              </p:blipFill>
              <p:spPr>
                <a:xfrm>
                  <a:off x="6648873" y="4064082"/>
                  <a:ext cx="24660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39" name="Рукописный ввод 38">
                  <a:extLst>
                    <a:ext uri="{FF2B5EF4-FFF2-40B4-BE49-F238E27FC236}">
                      <a16:creationId xmlns:a16="http://schemas.microsoft.com/office/drawing/2014/main" id="{5F0B45BA-D542-4DDF-8B20-F89A1867CF28}"/>
                    </a:ext>
                  </a:extLst>
                </p14:cNvPr>
                <p14:cNvContentPartPr/>
                <p14:nvPr/>
              </p14:nvContentPartPr>
              <p14:xfrm>
                <a:off x="7088433" y="4171002"/>
                <a:ext cx="91080" cy="75600"/>
              </p14:xfrm>
            </p:contentPart>
          </mc:Choice>
          <mc:Fallback>
            <p:pic>
              <p:nvPicPr>
                <p:cNvPr id="39" name="Рукописный ввод 38">
                  <a:extLst>
                    <a:ext uri="{FF2B5EF4-FFF2-40B4-BE49-F238E27FC236}">
                      <a16:creationId xmlns:a16="http://schemas.microsoft.com/office/drawing/2014/main" id="{5F0B45BA-D542-4DDF-8B20-F89A1867CF28}"/>
                    </a:ext>
                  </a:extLst>
                </p:cNvPr>
                <p:cNvPicPr/>
                <p:nvPr/>
              </p:nvPicPr>
              <p:blipFill>
                <a:blip r:embed="rId47"/>
                <a:stretch>
                  <a:fillRect/>
                </a:stretch>
              </p:blipFill>
              <p:spPr>
                <a:xfrm>
                  <a:off x="7079433" y="4162362"/>
                  <a:ext cx="108720" cy="93240"/>
                </a:xfrm>
                <a:prstGeom prst="rect">
                  <a:avLst/>
                </a:prstGeom>
              </p:spPr>
            </p:pic>
          </mc:Fallback>
        </mc:AlternateContent>
      </p:grpSp>
      <p:grpSp>
        <p:nvGrpSpPr>
          <p:cNvPr id="46" name="Группа 45">
            <a:extLst>
              <a:ext uri="{FF2B5EF4-FFF2-40B4-BE49-F238E27FC236}">
                <a16:creationId xmlns:a16="http://schemas.microsoft.com/office/drawing/2014/main" id="{A9F47EBF-7E22-4350-9732-D4B162E13B8E}"/>
              </a:ext>
            </a:extLst>
          </p:cNvPr>
          <p:cNvGrpSpPr/>
          <p:nvPr/>
        </p:nvGrpSpPr>
        <p:grpSpPr>
          <a:xfrm>
            <a:off x="7207593" y="4056882"/>
            <a:ext cx="201240" cy="202320"/>
            <a:chOff x="7207593" y="4056882"/>
            <a:chExt cx="201240" cy="202320"/>
          </a:xfrm>
        </p:grpSpPr>
        <mc:AlternateContent xmlns:mc="http://schemas.openxmlformats.org/markup-compatibility/2006">
          <mc:Choice xmlns:p14="http://schemas.microsoft.com/office/powerpoint/2010/main" Requires="p14">
            <p:contentPart p14:bwMode="auto" r:id="rId48">
              <p14:nvContentPartPr>
                <p14:cNvPr id="43" name="Рукописный ввод 42">
                  <a:extLst>
                    <a:ext uri="{FF2B5EF4-FFF2-40B4-BE49-F238E27FC236}">
                      <a16:creationId xmlns:a16="http://schemas.microsoft.com/office/drawing/2014/main" id="{F1A49C57-A719-4640-BB78-66CCB74B7629}"/>
                    </a:ext>
                  </a:extLst>
                </p14:cNvPr>
                <p14:cNvContentPartPr/>
                <p14:nvPr/>
              </p14:nvContentPartPr>
              <p14:xfrm>
                <a:off x="7207593" y="4163442"/>
                <a:ext cx="50760" cy="88560"/>
              </p14:xfrm>
            </p:contentPart>
          </mc:Choice>
          <mc:Fallback>
            <p:pic>
              <p:nvPicPr>
                <p:cNvPr id="43" name="Рукописный ввод 42">
                  <a:extLst>
                    <a:ext uri="{FF2B5EF4-FFF2-40B4-BE49-F238E27FC236}">
                      <a16:creationId xmlns:a16="http://schemas.microsoft.com/office/drawing/2014/main" id="{F1A49C57-A719-4640-BB78-66CCB74B7629}"/>
                    </a:ext>
                  </a:extLst>
                </p:cNvPr>
                <p:cNvPicPr/>
                <p:nvPr/>
              </p:nvPicPr>
              <p:blipFill>
                <a:blip r:embed="rId49"/>
                <a:stretch>
                  <a:fillRect/>
                </a:stretch>
              </p:blipFill>
              <p:spPr>
                <a:xfrm>
                  <a:off x="7198953" y="4154802"/>
                  <a:ext cx="68400" cy="10620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44" name="Рукописный ввод 43">
                  <a:extLst>
                    <a:ext uri="{FF2B5EF4-FFF2-40B4-BE49-F238E27FC236}">
                      <a16:creationId xmlns:a16="http://schemas.microsoft.com/office/drawing/2014/main" id="{820F2CD7-026B-410B-9624-60B88867445E}"/>
                    </a:ext>
                  </a:extLst>
                </p14:cNvPr>
                <p14:cNvContentPartPr/>
                <p14:nvPr/>
              </p14:nvContentPartPr>
              <p14:xfrm>
                <a:off x="7298313" y="4056882"/>
                <a:ext cx="28440" cy="195480"/>
              </p14:xfrm>
            </p:contentPart>
          </mc:Choice>
          <mc:Fallback>
            <p:pic>
              <p:nvPicPr>
                <p:cNvPr id="44" name="Рукописный ввод 43">
                  <a:extLst>
                    <a:ext uri="{FF2B5EF4-FFF2-40B4-BE49-F238E27FC236}">
                      <a16:creationId xmlns:a16="http://schemas.microsoft.com/office/drawing/2014/main" id="{820F2CD7-026B-410B-9624-60B88867445E}"/>
                    </a:ext>
                  </a:extLst>
                </p:cNvPr>
                <p:cNvPicPr/>
                <p:nvPr/>
              </p:nvPicPr>
              <p:blipFill>
                <a:blip r:embed="rId51"/>
                <a:stretch>
                  <a:fillRect/>
                </a:stretch>
              </p:blipFill>
              <p:spPr>
                <a:xfrm>
                  <a:off x="7289673" y="4047882"/>
                  <a:ext cx="46080" cy="21312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45" name="Рукописный ввод 44">
                  <a:extLst>
                    <a:ext uri="{FF2B5EF4-FFF2-40B4-BE49-F238E27FC236}">
                      <a16:creationId xmlns:a16="http://schemas.microsoft.com/office/drawing/2014/main" id="{D0082C5A-0342-4AFC-910B-AA9F5ACE547E}"/>
                    </a:ext>
                  </a:extLst>
                </p14:cNvPr>
                <p14:cNvContentPartPr/>
                <p14:nvPr/>
              </p14:nvContentPartPr>
              <p14:xfrm>
                <a:off x="7326393" y="4164522"/>
                <a:ext cx="82440" cy="94680"/>
              </p14:xfrm>
            </p:contentPart>
          </mc:Choice>
          <mc:Fallback>
            <p:pic>
              <p:nvPicPr>
                <p:cNvPr id="45" name="Рукописный ввод 44">
                  <a:extLst>
                    <a:ext uri="{FF2B5EF4-FFF2-40B4-BE49-F238E27FC236}">
                      <a16:creationId xmlns:a16="http://schemas.microsoft.com/office/drawing/2014/main" id="{D0082C5A-0342-4AFC-910B-AA9F5ACE547E}"/>
                    </a:ext>
                  </a:extLst>
                </p:cNvPr>
                <p:cNvPicPr/>
                <p:nvPr/>
              </p:nvPicPr>
              <p:blipFill>
                <a:blip r:embed="rId53"/>
                <a:stretch>
                  <a:fillRect/>
                </a:stretch>
              </p:blipFill>
              <p:spPr>
                <a:xfrm>
                  <a:off x="7317393" y="4155522"/>
                  <a:ext cx="100080" cy="112320"/>
                </a:xfrm>
                <a:prstGeom prst="rect">
                  <a:avLst/>
                </a:prstGeom>
              </p:spPr>
            </p:pic>
          </mc:Fallback>
        </mc:AlternateContent>
      </p:grpSp>
    </p:spTree>
    <p:extLst>
      <p:ext uri="{BB962C8B-B14F-4D97-AF65-F5344CB8AC3E}">
        <p14:creationId xmlns:p14="http://schemas.microsoft.com/office/powerpoint/2010/main" val="237370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6627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72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993" y="209848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5353" y="1835322"/>
                  <a:ext cx="403920" cy="3636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393" y="1825242"/>
                  <a:ext cx="34056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73" y="1818402"/>
                  <a:ext cx="308880"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873" y="1820202"/>
                  <a:ext cx="245880"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80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873" y="222664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993" y="2316642"/>
                  <a:ext cx="366120" cy="3708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8353" y="2312682"/>
                  <a:ext cx="3819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96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67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4353" y="2260482"/>
                  <a:ext cx="275040" cy="1872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59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80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833" y="2459562"/>
                  <a:ext cx="187920" cy="2484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793" y="245020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882"/>
                  <a:ext cx="40320" cy="135360"/>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6113" y="251068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96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8073" y="2408082"/>
                  <a:ext cx="52920"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553" y="2507082"/>
                  <a:ext cx="8604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907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593" y="2500242"/>
                  <a:ext cx="100440" cy="77040"/>
                </a:xfrm>
                <a:prstGeom prst="rect">
                  <a:avLst/>
                </a:prstGeom>
              </p:spPr>
            </p:pic>
          </mc:Fallback>
        </mc:AlternateContent>
      </p:grpSp>
    </p:spTree>
    <p:extLst>
      <p:ext uri="{BB962C8B-B14F-4D97-AF65-F5344CB8AC3E}">
        <p14:creationId xmlns:p14="http://schemas.microsoft.com/office/powerpoint/2010/main" val="32312689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62"/>
                <a:ext cx="615960" cy="261000"/>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63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53" y="783762"/>
                  <a:ext cx="122400" cy="62280"/>
                </a:xfrm>
                <a:prstGeom prst="rect">
                  <a:avLst/>
                </a:prstGeom>
              </p:spPr>
            </p:pic>
          </mc:Fallback>
        </mc:AlternateContent>
      </p:grpSp>
    </p:spTree>
    <p:extLst>
      <p:ext uri="{BB962C8B-B14F-4D97-AF65-F5344CB8AC3E}">
        <p14:creationId xmlns:p14="http://schemas.microsoft.com/office/powerpoint/2010/main" val="40291618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42"/>
                  <a:ext cx="128160" cy="185400"/>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2313" y="673242"/>
                  <a:ext cx="2142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8113" y="652722"/>
                  <a:ext cx="68400"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123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922"/>
                  <a:ext cx="8568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393" y="725442"/>
                  <a:ext cx="152280"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633" y="666762"/>
                  <a:ext cx="6696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793" y="748122"/>
                  <a:ext cx="9720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553" y="748122"/>
                  <a:ext cx="94680" cy="7092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223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673" y="729762"/>
                  <a:ext cx="136080" cy="99360"/>
                </a:xfrm>
                <a:prstGeom prst="rect">
                  <a:avLst/>
                </a:prstGeom>
              </p:spPr>
            </p:pic>
          </mc:Fallback>
        </mc:AlternateContent>
      </p:grpSp>
    </p:spTree>
    <p:extLst>
      <p:ext uri="{BB962C8B-B14F-4D97-AF65-F5344CB8AC3E}">
        <p14:creationId xmlns:p14="http://schemas.microsoft.com/office/powerpoint/2010/main" val="3763949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90402"/>
                <a:ext cx="384480" cy="63720"/>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873" y="931362"/>
                  <a:ext cx="84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193" y="1002282"/>
                  <a:ext cx="102240" cy="50400"/>
                </a:xfrm>
                <a:prstGeom prst="rect">
                  <a:avLst/>
                </a:prstGeom>
              </p:spPr>
            </p:pic>
          </mc:Fallback>
        </mc:AlternateContent>
      </p:grpSp>
    </p:spTree>
    <p:extLst>
      <p:ext uri="{BB962C8B-B14F-4D97-AF65-F5344CB8AC3E}">
        <p14:creationId xmlns:p14="http://schemas.microsoft.com/office/powerpoint/2010/main" val="13487100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mc:Choice xmlns:p14="http://schemas.microsoft.com/office/powerpoint/2010/main"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1193" y="957282"/>
                  <a:ext cx="50760" cy="13212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mc:Choice xmlns:p14="http://schemas.microsoft.com/office/powerpoint/2010/main"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722"/>
                  <a:ext cx="11196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833" y="958002"/>
                  <a:ext cx="900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1242"/>
                  <a:ext cx="3276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993" y="1032162"/>
                  <a:ext cx="83880"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562"/>
                  <a:ext cx="93600" cy="67320"/>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753" y="1021002"/>
                  <a:ext cx="244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873" y="951882"/>
                  <a:ext cx="6012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53" y="1028562"/>
                  <a:ext cx="10188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713" y="1026042"/>
                  <a:ext cx="105840" cy="7416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7033" y="1035762"/>
                  <a:ext cx="61560" cy="61200"/>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753" y="104188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833" y="1029282"/>
                  <a:ext cx="79200" cy="83880"/>
                </a:xfrm>
                <a:prstGeom prst="rect">
                  <a:avLst/>
                </a:prstGeom>
              </p:spPr>
            </p:pic>
          </mc:Fallback>
        </mc:AlternateContent>
      </p:grpSp>
    </p:spTree>
    <p:extLst>
      <p:ext uri="{BB962C8B-B14F-4D97-AF65-F5344CB8AC3E}">
        <p14:creationId xmlns:p14="http://schemas.microsoft.com/office/powerpoint/2010/main" val="1687480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mc:Choice xmlns:p14="http://schemas.microsoft.com/office/powerpoint/2010/main"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mc:Choice xmlns:p14="http://schemas.microsoft.com/office/powerpoint/2010/main"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mc:Choice xmlns:p14="http://schemas.microsoft.com/office/powerpoint/2010/main"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mc:Choice xmlns:p14="http://schemas.microsoft.com/office/powerpoint/2010/main"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mc:Choice xmlns:p14="http://schemas.microsoft.com/office/powerpoint/2010/main"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mc:Choice xmlns:p14="http://schemas.microsoft.com/office/powerpoint/2010/main"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mc:Choice xmlns:p14="http://schemas.microsoft.com/office/powerpoint/2010/main"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mc:Choice xmlns:p14="http://schemas.microsoft.com/office/powerpoint/2010/main"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mc:Choice xmlns:p14="http://schemas.microsoft.com/office/powerpoint/2010/main"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mc:Choice xmlns:p14="http://schemas.microsoft.com/office/powerpoint/2010/main"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mc:Choice xmlns:p14="http://schemas.microsoft.com/office/powerpoint/2010/main"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mc:Choice xmlns:p14="http://schemas.microsoft.com/office/powerpoint/2010/main"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mc:Choice xmlns:p14="http://schemas.microsoft.com/office/powerpoint/2010/main"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mc:Choice xmlns:p14="http://schemas.microsoft.com/office/powerpoint/2010/main"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mc:Choice xmlns:p14="http://schemas.microsoft.com/office/powerpoint/2010/main"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mc:Choice xmlns:p14="http://schemas.microsoft.com/office/powerpoint/2010/main"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mc:Choice xmlns:p14="http://schemas.microsoft.com/office/powerpoint/2010/main"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mc:Choice xmlns:p14="http://schemas.microsoft.com/office/powerpoint/2010/main"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mc:Choice xmlns:p14="http://schemas.microsoft.com/office/powerpoint/2010/main"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mc:Choice xmlns:p14="http://schemas.microsoft.com/office/powerpoint/2010/main"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mc:Choice xmlns:p14="http://schemas.microsoft.com/office/powerpoint/2010/main"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mc:Choice xmlns:p14="http://schemas.microsoft.com/office/powerpoint/2010/main"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mc:Choice xmlns:p14="http://schemas.microsoft.com/office/powerpoint/2010/main"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mc:Choice xmlns:p14="http://schemas.microsoft.com/office/powerpoint/2010/main"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mc:Choice xmlns:p14="http://schemas.microsoft.com/office/powerpoint/2010/main"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mc:Choice xmlns:p14="http://schemas.microsoft.com/office/powerpoint/2010/main"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mc:Choice xmlns:p14="http://schemas.microsoft.com/office/powerpoint/2010/main"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mc:Choice xmlns:p14="http://schemas.microsoft.com/office/powerpoint/2010/main"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mc:Choice xmlns:p14="http://schemas.microsoft.com/office/powerpoint/2010/main"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0833" y="957282"/>
                  <a:ext cx="50760" cy="132120"/>
                </a:xfrm>
                <a:prstGeom prst="rect">
                  <a:avLst/>
                </a:prstGeom>
              </p:spPr>
            </p:pic>
          </mc:Fallback>
        </mc:AlternateContent>
        <mc:AlternateContent xmlns:mc="http://schemas.openxmlformats.org/markup-compatibility/2006">
          <mc:Choice xmlns:p14="http://schemas.microsoft.com/office/powerpoint/2010/main"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mc:Choice xmlns:p14="http://schemas.microsoft.com/office/powerpoint/2010/main"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362"/>
                  <a:ext cx="111960" cy="23040"/>
                </a:xfrm>
                <a:prstGeom prst="rect">
                  <a:avLst/>
                </a:prstGeom>
              </p:spPr>
            </p:pic>
          </mc:Fallback>
        </mc:AlternateContent>
        <mc:AlternateContent xmlns:mc="http://schemas.openxmlformats.org/markup-compatibility/2006">
          <mc:Choice xmlns:p14="http://schemas.microsoft.com/office/powerpoint/2010/main"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473" y="957642"/>
                  <a:ext cx="9000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0882"/>
                  <a:ext cx="32760" cy="138600"/>
                </a:xfrm>
                <a:prstGeom prst="rect">
                  <a:avLst/>
                </a:prstGeom>
              </p:spPr>
            </p:pic>
          </mc:Fallback>
        </mc:AlternateContent>
        <mc:AlternateContent xmlns:mc="http://schemas.openxmlformats.org/markup-compatibility/2006">
          <mc:Choice xmlns:p14="http://schemas.microsoft.com/office/powerpoint/2010/main"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mc:Choice xmlns:p14="http://schemas.microsoft.com/office/powerpoint/2010/main"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584" y="1032162"/>
                  <a:ext cx="83976" cy="69840"/>
                </a:xfrm>
                <a:prstGeom prst="rect">
                  <a:avLst/>
                </a:prstGeom>
              </p:spPr>
            </p:pic>
          </mc:Fallback>
        </mc:AlternateContent>
        <mc:AlternateContent xmlns:mc="http://schemas.openxmlformats.org/markup-compatibility/2006">
          <mc:Choice xmlns:p14="http://schemas.microsoft.com/office/powerpoint/2010/main"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627"/>
                  <a:ext cx="93600" cy="67193"/>
                </a:xfrm>
                <a:prstGeom prst="rect">
                  <a:avLst/>
                </a:prstGeom>
              </p:spPr>
            </p:pic>
          </mc:Fallback>
        </mc:AlternateContent>
        <mc:AlternateContent xmlns:mc="http://schemas.openxmlformats.org/markup-compatibility/2006">
          <mc:Choice xmlns:p14="http://schemas.microsoft.com/office/powerpoint/2010/main"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393" y="1020642"/>
                  <a:ext cx="24480" cy="83160"/>
                </a:xfrm>
                <a:prstGeom prst="rect">
                  <a:avLst/>
                </a:prstGeom>
              </p:spPr>
            </p:pic>
          </mc:Fallback>
        </mc:AlternateContent>
        <mc:AlternateContent xmlns:mc="http://schemas.openxmlformats.org/markup-compatibility/2006">
          <mc:Choice xmlns:p14="http://schemas.microsoft.com/office/powerpoint/2010/main"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513" y="951882"/>
                  <a:ext cx="60120" cy="152640"/>
                </a:xfrm>
                <a:prstGeom prst="rect">
                  <a:avLst/>
                </a:prstGeom>
              </p:spPr>
            </p:pic>
          </mc:Fallback>
        </mc:AlternateContent>
        <mc:AlternateContent xmlns:mc="http://schemas.openxmlformats.org/markup-compatibility/2006">
          <mc:Choice xmlns:p14="http://schemas.microsoft.com/office/powerpoint/2010/main"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91" y="1028562"/>
                  <a:ext cx="101805"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353" y="1025682"/>
                  <a:ext cx="105840" cy="74160"/>
                </a:xfrm>
                <a:prstGeom prst="rect">
                  <a:avLst/>
                </a:prstGeom>
              </p:spPr>
            </p:pic>
          </mc:Fallback>
        </mc:AlternateContent>
        <mc:AlternateContent xmlns:mc="http://schemas.openxmlformats.org/markup-compatibility/2006">
          <mc:Choice xmlns:p14="http://schemas.microsoft.com/office/powerpoint/2010/main"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6599" y="1035327"/>
                  <a:ext cx="61706" cy="61347"/>
                </a:xfrm>
                <a:prstGeom prst="rect">
                  <a:avLst/>
                </a:prstGeom>
              </p:spPr>
            </p:pic>
          </mc:Fallback>
        </mc:AlternateContent>
        <mc:AlternateContent xmlns:mc="http://schemas.openxmlformats.org/markup-compatibility/2006">
          <mc:Choice xmlns:p14="http://schemas.microsoft.com/office/powerpoint/2010/main"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393" y="1041522"/>
                  <a:ext cx="1800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473" y="1029282"/>
                  <a:ext cx="79200" cy="83880"/>
                </a:xfrm>
                <a:prstGeom prst="rect">
                  <a:avLst/>
                </a:prstGeom>
              </p:spPr>
            </p:pic>
          </mc:Fallback>
        </mc:AlternateContent>
      </p:grpSp>
      <p:grpSp>
        <p:nvGrpSpPr>
          <p:cNvPr id="116" name="Группа 115">
            <a:extLst>
              <a:ext uri="{FF2B5EF4-FFF2-40B4-BE49-F238E27FC236}">
                <a16:creationId xmlns:a16="http://schemas.microsoft.com/office/drawing/2014/main" id="{6A52A0E1-DDE4-4B3A-B467-E407531C1157}"/>
              </a:ext>
            </a:extLst>
          </p:cNvPr>
          <p:cNvGrpSpPr/>
          <p:nvPr/>
        </p:nvGrpSpPr>
        <p:grpSpPr>
          <a:xfrm>
            <a:off x="7411713" y="1117842"/>
            <a:ext cx="608040" cy="155160"/>
            <a:chOff x="7411713" y="1117842"/>
            <a:chExt cx="608040" cy="155160"/>
          </a:xfrm>
        </p:grpSpPr>
        <mc:AlternateContent xmlns:mc="http://schemas.openxmlformats.org/markup-compatibility/2006">
          <mc:Choice xmlns:p14="http://schemas.microsoft.com/office/powerpoint/2010/main" Requires="p14">
            <p:contentPart p14:bwMode="auto" r:id="rId191">
              <p14:nvContentPartPr>
                <p14:cNvPr id="75" name="Рукописный ввод 74">
                  <a:extLst>
                    <a:ext uri="{FF2B5EF4-FFF2-40B4-BE49-F238E27FC236}">
                      <a16:creationId xmlns:a16="http://schemas.microsoft.com/office/drawing/2014/main" id="{BDD92D83-86C7-440F-A529-9D7CA8DD6BCC}"/>
                    </a:ext>
                  </a:extLst>
                </p14:cNvPr>
                <p14:cNvContentPartPr/>
                <p14:nvPr/>
              </p14:nvContentPartPr>
              <p14:xfrm>
                <a:off x="7411713" y="1117842"/>
                <a:ext cx="234000" cy="99360"/>
              </p14:xfrm>
            </p:contentPart>
          </mc:Choice>
          <mc:Fallback>
            <p:pic>
              <p:nvPicPr>
                <p:cNvPr id="75" name="Рукописный ввод 74">
                  <a:extLst>
                    <a:ext uri="{FF2B5EF4-FFF2-40B4-BE49-F238E27FC236}">
                      <a16:creationId xmlns:a16="http://schemas.microsoft.com/office/drawing/2014/main" id="{BDD92D83-86C7-440F-A529-9D7CA8DD6BCC}"/>
                    </a:ext>
                  </a:extLst>
                </p:cNvPr>
                <p:cNvPicPr/>
                <p:nvPr/>
              </p:nvPicPr>
              <p:blipFill>
                <a:blip r:embed="rId192"/>
                <a:stretch>
                  <a:fillRect/>
                </a:stretch>
              </p:blipFill>
              <p:spPr>
                <a:xfrm>
                  <a:off x="7402713" y="1109202"/>
                  <a:ext cx="251640" cy="117000"/>
                </a:xfrm>
                <a:prstGeom prst="rect">
                  <a:avLst/>
                </a:prstGeom>
              </p:spPr>
            </p:pic>
          </mc:Fallback>
        </mc:AlternateContent>
        <mc:AlternateContent xmlns:mc="http://schemas.openxmlformats.org/markup-compatibility/2006">
          <mc:Choice xmlns:p14="http://schemas.microsoft.com/office/powerpoint/2010/main" Requires="p14">
            <p:contentPart p14:bwMode="auto" r:id="rId193">
              <p14:nvContentPartPr>
                <p14:cNvPr id="90" name="Рукописный ввод 89">
                  <a:extLst>
                    <a:ext uri="{FF2B5EF4-FFF2-40B4-BE49-F238E27FC236}">
                      <a16:creationId xmlns:a16="http://schemas.microsoft.com/office/drawing/2014/main" id="{BF3C2BEF-ABA3-48F0-948C-38A1A80D5F6F}"/>
                    </a:ext>
                  </a:extLst>
                </p14:cNvPr>
                <p14:cNvContentPartPr/>
                <p14:nvPr/>
              </p14:nvContentPartPr>
              <p14:xfrm>
                <a:off x="7653993" y="1163922"/>
                <a:ext cx="64080" cy="67320"/>
              </p14:xfrm>
            </p:contentPart>
          </mc:Choice>
          <mc:Fallback>
            <p:pic>
              <p:nvPicPr>
                <p:cNvPr id="90" name="Рукописный ввод 89">
                  <a:extLst>
                    <a:ext uri="{FF2B5EF4-FFF2-40B4-BE49-F238E27FC236}">
                      <a16:creationId xmlns:a16="http://schemas.microsoft.com/office/drawing/2014/main" id="{BF3C2BEF-ABA3-48F0-948C-38A1A80D5F6F}"/>
                    </a:ext>
                  </a:extLst>
                </p:cNvPr>
                <p:cNvPicPr/>
                <p:nvPr/>
              </p:nvPicPr>
              <p:blipFill>
                <a:blip r:embed="rId194"/>
                <a:stretch>
                  <a:fillRect/>
                </a:stretch>
              </p:blipFill>
              <p:spPr>
                <a:xfrm>
                  <a:off x="7644993" y="1154922"/>
                  <a:ext cx="81720" cy="84960"/>
                </a:xfrm>
                <a:prstGeom prst="rect">
                  <a:avLst/>
                </a:prstGeom>
              </p:spPr>
            </p:pic>
          </mc:Fallback>
        </mc:AlternateContent>
        <mc:AlternateContent xmlns:mc="http://schemas.openxmlformats.org/markup-compatibility/2006">
          <mc:Choice xmlns:p14="http://schemas.microsoft.com/office/powerpoint/2010/main" Requires="p14">
            <p:contentPart p14:bwMode="auto" r:id="rId195">
              <p14:nvContentPartPr>
                <p14:cNvPr id="91" name="Рукописный ввод 90">
                  <a:extLst>
                    <a:ext uri="{FF2B5EF4-FFF2-40B4-BE49-F238E27FC236}">
                      <a16:creationId xmlns:a16="http://schemas.microsoft.com/office/drawing/2014/main" id="{98E315B8-B0B3-4EFC-B725-D2B6F6D0344B}"/>
                    </a:ext>
                  </a:extLst>
                </p14:cNvPr>
                <p14:cNvContentPartPr/>
                <p14:nvPr/>
              </p14:nvContentPartPr>
              <p14:xfrm>
                <a:off x="7600353" y="1238082"/>
                <a:ext cx="115920" cy="7560"/>
              </p14:xfrm>
            </p:contentPart>
          </mc:Choice>
          <mc:Fallback>
            <p:pic>
              <p:nvPicPr>
                <p:cNvPr id="91" name="Рукописный ввод 90">
                  <a:extLst>
                    <a:ext uri="{FF2B5EF4-FFF2-40B4-BE49-F238E27FC236}">
                      <a16:creationId xmlns:a16="http://schemas.microsoft.com/office/drawing/2014/main" id="{98E315B8-B0B3-4EFC-B725-D2B6F6D0344B}"/>
                    </a:ext>
                  </a:extLst>
                </p:cNvPr>
                <p:cNvPicPr/>
                <p:nvPr/>
              </p:nvPicPr>
              <p:blipFill>
                <a:blip r:embed="rId196"/>
                <a:stretch>
                  <a:fillRect/>
                </a:stretch>
              </p:blipFill>
              <p:spPr>
                <a:xfrm>
                  <a:off x="7591353" y="1229442"/>
                  <a:ext cx="133560" cy="25200"/>
                </a:xfrm>
                <a:prstGeom prst="rect">
                  <a:avLst/>
                </a:prstGeom>
              </p:spPr>
            </p:pic>
          </mc:Fallback>
        </mc:AlternateContent>
        <mc:AlternateContent xmlns:mc="http://schemas.openxmlformats.org/markup-compatibility/2006">
          <mc:Choice xmlns:p14="http://schemas.microsoft.com/office/powerpoint/2010/main" Requires="p14">
            <p:contentPart p14:bwMode="auto" r:id="rId197">
              <p14:nvContentPartPr>
                <p14:cNvPr id="96" name="Рукописный ввод 95">
                  <a:extLst>
                    <a:ext uri="{FF2B5EF4-FFF2-40B4-BE49-F238E27FC236}">
                      <a16:creationId xmlns:a16="http://schemas.microsoft.com/office/drawing/2014/main" id="{291EAF8A-F5C6-4E44-BC41-7720DA104775}"/>
                    </a:ext>
                  </a:extLst>
                </p14:cNvPr>
                <p14:cNvContentPartPr/>
                <p14:nvPr/>
              </p14:nvContentPartPr>
              <p14:xfrm>
                <a:off x="7804833" y="1246002"/>
                <a:ext cx="44280" cy="21600"/>
              </p14:xfrm>
            </p:contentPart>
          </mc:Choice>
          <mc:Fallback>
            <p:pic>
              <p:nvPicPr>
                <p:cNvPr id="96" name="Рукописный ввод 95">
                  <a:extLst>
                    <a:ext uri="{FF2B5EF4-FFF2-40B4-BE49-F238E27FC236}">
                      <a16:creationId xmlns:a16="http://schemas.microsoft.com/office/drawing/2014/main" id="{291EAF8A-F5C6-4E44-BC41-7720DA104775}"/>
                    </a:ext>
                  </a:extLst>
                </p:cNvPr>
                <p:cNvPicPr/>
                <p:nvPr/>
              </p:nvPicPr>
              <p:blipFill>
                <a:blip r:embed="rId198"/>
                <a:stretch>
                  <a:fillRect/>
                </a:stretch>
              </p:blipFill>
              <p:spPr>
                <a:xfrm>
                  <a:off x="7796193" y="1237002"/>
                  <a:ext cx="61920" cy="39240"/>
                </a:xfrm>
                <a:prstGeom prst="rect">
                  <a:avLst/>
                </a:prstGeom>
              </p:spPr>
            </p:pic>
          </mc:Fallback>
        </mc:AlternateContent>
        <mc:AlternateContent xmlns:mc="http://schemas.openxmlformats.org/markup-compatibility/2006">
          <mc:Choice xmlns:p14="http://schemas.microsoft.com/office/powerpoint/2010/main" Requires="p14">
            <p:contentPart p14:bwMode="auto" r:id="rId199">
              <p14:nvContentPartPr>
                <p14:cNvPr id="99" name="Рукописный ввод 98">
                  <a:extLst>
                    <a:ext uri="{FF2B5EF4-FFF2-40B4-BE49-F238E27FC236}">
                      <a16:creationId xmlns:a16="http://schemas.microsoft.com/office/drawing/2014/main" id="{4F436692-D55E-4284-8EE8-7DB36C2D4AFD}"/>
                    </a:ext>
                  </a:extLst>
                </p14:cNvPr>
                <p14:cNvContentPartPr/>
                <p14:nvPr/>
              </p14:nvContentPartPr>
              <p14:xfrm>
                <a:off x="7902393" y="1243842"/>
                <a:ext cx="35640" cy="25560"/>
              </p14:xfrm>
            </p:contentPart>
          </mc:Choice>
          <mc:Fallback>
            <p:pic>
              <p:nvPicPr>
                <p:cNvPr id="99" name="Рукописный ввод 98">
                  <a:extLst>
                    <a:ext uri="{FF2B5EF4-FFF2-40B4-BE49-F238E27FC236}">
                      <a16:creationId xmlns:a16="http://schemas.microsoft.com/office/drawing/2014/main" id="{4F436692-D55E-4284-8EE8-7DB36C2D4AFD}"/>
                    </a:ext>
                  </a:extLst>
                </p:cNvPr>
                <p:cNvPicPr/>
                <p:nvPr/>
              </p:nvPicPr>
              <p:blipFill>
                <a:blip r:embed="rId200"/>
                <a:stretch>
                  <a:fillRect/>
                </a:stretch>
              </p:blipFill>
              <p:spPr>
                <a:xfrm>
                  <a:off x="7893393" y="1235202"/>
                  <a:ext cx="53280" cy="43200"/>
                </a:xfrm>
                <a:prstGeom prst="rect">
                  <a:avLst/>
                </a:prstGeom>
              </p:spPr>
            </p:pic>
          </mc:Fallback>
        </mc:AlternateContent>
        <mc:AlternateContent xmlns:mc="http://schemas.openxmlformats.org/markup-compatibility/2006">
          <mc:Choice xmlns:p14="http://schemas.microsoft.com/office/powerpoint/2010/main" Requires="p14">
            <p:contentPart p14:bwMode="auto" r:id="rId201">
              <p14:nvContentPartPr>
                <p14:cNvPr id="105" name="Рукописный ввод 104">
                  <a:extLst>
                    <a:ext uri="{FF2B5EF4-FFF2-40B4-BE49-F238E27FC236}">
                      <a16:creationId xmlns:a16="http://schemas.microsoft.com/office/drawing/2014/main" id="{01C1EB7C-819A-411B-ABD7-8267E4F9CED2}"/>
                    </a:ext>
                  </a:extLst>
                </p14:cNvPr>
                <p14:cNvContentPartPr/>
                <p14:nvPr/>
              </p14:nvContentPartPr>
              <p14:xfrm>
                <a:off x="7986273" y="1252482"/>
                <a:ext cx="33480" cy="20520"/>
              </p14:xfrm>
            </p:contentPart>
          </mc:Choice>
          <mc:Fallback>
            <p:pic>
              <p:nvPicPr>
                <p:cNvPr id="105" name="Рукописный ввод 104">
                  <a:extLst>
                    <a:ext uri="{FF2B5EF4-FFF2-40B4-BE49-F238E27FC236}">
                      <a16:creationId xmlns:a16="http://schemas.microsoft.com/office/drawing/2014/main" id="{01C1EB7C-819A-411B-ABD7-8267E4F9CED2}"/>
                    </a:ext>
                  </a:extLst>
                </p:cNvPr>
                <p:cNvPicPr/>
                <p:nvPr/>
              </p:nvPicPr>
              <p:blipFill>
                <a:blip r:embed="rId202"/>
                <a:stretch>
                  <a:fillRect/>
                </a:stretch>
              </p:blipFill>
              <p:spPr>
                <a:xfrm>
                  <a:off x="7977273" y="1243482"/>
                  <a:ext cx="51120" cy="38160"/>
                </a:xfrm>
                <a:prstGeom prst="rect">
                  <a:avLst/>
                </a:prstGeom>
              </p:spPr>
            </p:pic>
          </mc:Fallback>
        </mc:AlternateContent>
        <mc:AlternateContent xmlns:mc="http://schemas.openxmlformats.org/markup-compatibility/2006">
          <mc:Choice xmlns:p14="http://schemas.microsoft.com/office/powerpoint/2010/main" Requires="p14">
            <p:contentPart p14:bwMode="auto" r:id="rId203">
              <p14:nvContentPartPr>
                <p14:cNvPr id="114" name="Рукописный ввод 113">
                  <a:extLst>
                    <a:ext uri="{FF2B5EF4-FFF2-40B4-BE49-F238E27FC236}">
                      <a16:creationId xmlns:a16="http://schemas.microsoft.com/office/drawing/2014/main" id="{95726C8F-18AD-4EA5-BD26-C202B0CE34D8}"/>
                    </a:ext>
                  </a:extLst>
                </p14:cNvPr>
                <p14:cNvContentPartPr/>
                <p14:nvPr/>
              </p14:nvContentPartPr>
              <p14:xfrm>
                <a:off x="7627353" y="1219722"/>
                <a:ext cx="48600" cy="12960"/>
              </p14:xfrm>
            </p:contentPart>
          </mc:Choice>
          <mc:Fallback>
            <p:pic>
              <p:nvPicPr>
                <p:cNvPr id="114" name="Рукописный ввод 113">
                  <a:extLst>
                    <a:ext uri="{FF2B5EF4-FFF2-40B4-BE49-F238E27FC236}">
                      <a16:creationId xmlns:a16="http://schemas.microsoft.com/office/drawing/2014/main" id="{95726C8F-18AD-4EA5-BD26-C202B0CE34D8}"/>
                    </a:ext>
                  </a:extLst>
                </p:cNvPr>
                <p:cNvPicPr/>
                <p:nvPr/>
              </p:nvPicPr>
              <p:blipFill>
                <a:blip r:embed="rId204"/>
                <a:stretch>
                  <a:fillRect/>
                </a:stretch>
              </p:blipFill>
              <p:spPr>
                <a:xfrm>
                  <a:off x="7618713" y="1210722"/>
                  <a:ext cx="66240" cy="30600"/>
                </a:xfrm>
                <a:prstGeom prst="rect">
                  <a:avLst/>
                </a:prstGeom>
              </p:spPr>
            </p:pic>
          </mc:Fallback>
        </mc:AlternateContent>
        <mc:AlternateContent xmlns:mc="http://schemas.openxmlformats.org/markup-compatibility/2006">
          <mc:Choice xmlns:p14="http://schemas.microsoft.com/office/powerpoint/2010/main" Requires="p14">
            <p:contentPart p14:bwMode="auto" r:id="rId205">
              <p14:nvContentPartPr>
                <p14:cNvPr id="115" name="Рукописный ввод 114">
                  <a:extLst>
                    <a:ext uri="{FF2B5EF4-FFF2-40B4-BE49-F238E27FC236}">
                      <a16:creationId xmlns:a16="http://schemas.microsoft.com/office/drawing/2014/main" id="{62498DA7-048B-4596-BE28-0533535BE859}"/>
                    </a:ext>
                  </a:extLst>
                </p14:cNvPr>
                <p14:cNvContentPartPr/>
                <p14:nvPr/>
              </p14:nvContentPartPr>
              <p14:xfrm>
                <a:off x="7632753" y="1229442"/>
                <a:ext cx="41040" cy="12240"/>
              </p14:xfrm>
            </p:contentPart>
          </mc:Choice>
          <mc:Fallback>
            <p:pic>
              <p:nvPicPr>
                <p:cNvPr id="115" name="Рукописный ввод 114">
                  <a:extLst>
                    <a:ext uri="{FF2B5EF4-FFF2-40B4-BE49-F238E27FC236}">
                      <a16:creationId xmlns:a16="http://schemas.microsoft.com/office/drawing/2014/main" id="{62498DA7-048B-4596-BE28-0533535BE859}"/>
                    </a:ext>
                  </a:extLst>
                </p:cNvPr>
                <p:cNvPicPr/>
                <p:nvPr/>
              </p:nvPicPr>
              <p:blipFill>
                <a:blip r:embed="rId206"/>
                <a:stretch>
                  <a:fillRect/>
                </a:stretch>
              </p:blipFill>
              <p:spPr>
                <a:xfrm>
                  <a:off x="7623753" y="1220802"/>
                  <a:ext cx="58680" cy="29880"/>
                </a:xfrm>
                <a:prstGeom prst="rect">
                  <a:avLst/>
                </a:prstGeom>
              </p:spPr>
            </p:pic>
          </mc:Fallback>
        </mc:AlternateContent>
      </p:grpSp>
    </p:spTree>
    <p:extLst>
      <p:ext uri="{BB962C8B-B14F-4D97-AF65-F5344CB8AC3E}">
        <p14:creationId xmlns:p14="http://schemas.microsoft.com/office/powerpoint/2010/main" val="26762385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50701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551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52858</TotalTime>
  <Words>5002</Words>
  <Application>Microsoft Office PowerPoint</Application>
  <PresentationFormat>Лист A4 (210x297 мм)</PresentationFormat>
  <Paragraphs>589</Paragraphs>
  <Slides>75</Slides>
  <Notes>75</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75</vt:i4>
      </vt:variant>
    </vt:vector>
  </HeadingPairs>
  <TitlesOfParts>
    <vt:vector size="82" baseType="lpstr">
      <vt:lpstr>Arial</vt:lpstr>
      <vt:lpstr>Calibri</vt:lpstr>
      <vt:lpstr>Courier New</vt:lpstr>
      <vt:lpstr>Segoe UI</vt:lpstr>
      <vt:lpstr>Wingdings</vt:lpstr>
      <vt:lpstr>Copie de ppt_Template_euriware-Capgemini</vt:lpstr>
      <vt:lpstr>think-cell Slide</vt:lpstr>
      <vt:lpstr>OCAF: OpenCascade Application Framework</vt:lpstr>
      <vt:lpstr>Training contents</vt:lpstr>
      <vt:lpstr>Training contents</vt:lpstr>
      <vt:lpstr>Training contents</vt:lpstr>
      <vt:lpstr>Global view</vt:lpstr>
      <vt:lpstr>OCAF fundamentals</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Typical architecture</vt:lpstr>
      <vt:lpstr>OCAF fundamentals / Typical architecture</vt:lpstr>
      <vt:lpstr>OCAF fundamentals / Application &amp; Document</vt:lpstr>
      <vt:lpstr>OCAF fundamentals / Application &amp; Document</vt:lpstr>
      <vt:lpstr>OCAF fundamentals / Application &amp; Document</vt:lpstr>
      <vt:lpstr>OCAF fundamentals / Practice</vt:lpstr>
      <vt:lpstr>OCAF fundamentals / Practice</vt:lpstr>
      <vt:lpstr>OCAF fundamentals / Practice</vt:lpstr>
      <vt:lpstr>OCAF fundamentals / Practice</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That’s a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cp:lastModifiedBy>
  <cp:revision>1164</cp:revision>
  <cp:lastPrinted>2018-05-16T06:57:05Z</cp:lastPrinted>
  <dcterms:created xsi:type="dcterms:W3CDTF">2014-05-14T11:11:57Z</dcterms:created>
  <dcterms:modified xsi:type="dcterms:W3CDTF">2021-07-16T13:45:16Z</dcterms:modified>
</cp:coreProperties>
</file>